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 id="2147483724" r:id="rId6"/>
    <p:sldMasterId id="2147483730" r:id="rId7"/>
  </p:sldMasterIdLst>
  <p:notesMasterIdLst>
    <p:notesMasterId r:id="rId25"/>
  </p:notesMasterIdLst>
  <p:sldIdLst>
    <p:sldId id="256" r:id="rId8"/>
    <p:sldId id="302" r:id="rId9"/>
    <p:sldId id="311" r:id="rId10"/>
    <p:sldId id="307" r:id="rId11"/>
    <p:sldId id="278" r:id="rId12"/>
    <p:sldId id="280" r:id="rId13"/>
    <p:sldId id="281" r:id="rId14"/>
    <p:sldId id="282" r:id="rId15"/>
    <p:sldId id="289" r:id="rId16"/>
    <p:sldId id="306" r:id="rId17"/>
    <p:sldId id="262" r:id="rId18"/>
    <p:sldId id="312" r:id="rId19"/>
    <p:sldId id="313" r:id="rId20"/>
    <p:sldId id="303" r:id="rId21"/>
    <p:sldId id="300" r:id="rId22"/>
    <p:sldId id="286" r:id="rId23"/>
    <p:sldId id="30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69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152" autoAdjust="0"/>
    <p:restoredTop sz="73730" autoAdjust="0"/>
  </p:normalViewPr>
  <p:slideViewPr>
    <p:cSldViewPr snapToGrid="0">
      <p:cViewPr varScale="1">
        <p:scale>
          <a:sx n="64" d="100"/>
          <a:sy n="64" d="100"/>
        </p:scale>
        <p:origin x="144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BEB74E-A3A5-4FBA-8C90-CFA4827287AA}" type="doc">
      <dgm:prSet loTypeId="urn:diagrams.loki3.com/BracketList" loCatId="list" qsTypeId="urn:microsoft.com/office/officeart/2005/8/quickstyle/simple4" qsCatId="simple" csTypeId="urn:microsoft.com/office/officeart/2005/8/colors/colorful4" csCatId="colorful" phldr="1"/>
      <dgm:spPr/>
      <dgm:t>
        <a:bodyPr/>
        <a:lstStyle/>
        <a:p>
          <a:endParaRPr lang="en-CA"/>
        </a:p>
      </dgm:t>
    </dgm:pt>
    <dgm:pt modelId="{867080EC-E986-4835-B701-AAB4FDC24DBE}">
      <dgm:prSet/>
      <dgm:spPr/>
      <dgm:t>
        <a:bodyPr/>
        <a:lstStyle/>
        <a:p>
          <a:pPr rtl="0"/>
          <a:r>
            <a:rPr lang="en-US" dirty="0" smtClean="0"/>
            <a:t>Polyglot persistence</a:t>
          </a:r>
          <a:endParaRPr lang="en-CA" dirty="0"/>
        </a:p>
      </dgm:t>
    </dgm:pt>
    <dgm:pt modelId="{4AF08BCD-4D83-4044-B4E8-3609593E161C}" type="parTrans" cxnId="{3F4DA2E6-FE14-4067-820D-CF3D0F3E59B6}">
      <dgm:prSet/>
      <dgm:spPr/>
      <dgm:t>
        <a:bodyPr/>
        <a:lstStyle/>
        <a:p>
          <a:endParaRPr lang="en-CA"/>
        </a:p>
      </dgm:t>
    </dgm:pt>
    <dgm:pt modelId="{BB2F3F1C-1835-43E5-9718-B68F1956129D}" type="sibTrans" cxnId="{3F4DA2E6-FE14-4067-820D-CF3D0F3E59B6}">
      <dgm:prSet/>
      <dgm:spPr/>
      <dgm:t>
        <a:bodyPr/>
        <a:lstStyle/>
        <a:p>
          <a:endParaRPr lang="en-CA"/>
        </a:p>
      </dgm:t>
    </dgm:pt>
    <dgm:pt modelId="{86579D13-DF9C-4E69-A48A-31DF6EB59093}">
      <dgm:prSet/>
      <dgm:spPr/>
      <dgm:t>
        <a:bodyPr/>
        <a:lstStyle/>
        <a:p>
          <a:pPr rtl="0"/>
          <a:r>
            <a:rPr lang="en-US" dirty="0" smtClean="0"/>
            <a:t>Not </a:t>
          </a:r>
          <a:r>
            <a:rPr lang="en-US" dirty="0" smtClean="0"/>
            <a:t>a new concept</a:t>
          </a:r>
          <a:endParaRPr lang="en-CA" dirty="0"/>
        </a:p>
      </dgm:t>
    </dgm:pt>
    <dgm:pt modelId="{6AD8B215-A417-43FB-97C4-3335A50FF8F9}" type="parTrans" cxnId="{00AB9746-992F-493D-B087-E2FB692F172E}">
      <dgm:prSet/>
      <dgm:spPr/>
      <dgm:t>
        <a:bodyPr/>
        <a:lstStyle/>
        <a:p>
          <a:endParaRPr lang="en-CA"/>
        </a:p>
      </dgm:t>
    </dgm:pt>
    <dgm:pt modelId="{EC87FB06-F1A6-4C24-BBBF-759118BDA59B}" type="sibTrans" cxnId="{00AB9746-992F-493D-B087-E2FB692F172E}">
      <dgm:prSet/>
      <dgm:spPr/>
      <dgm:t>
        <a:bodyPr/>
        <a:lstStyle/>
        <a:p>
          <a:endParaRPr lang="en-CA"/>
        </a:p>
      </dgm:t>
    </dgm:pt>
    <dgm:pt modelId="{7551C8F2-8939-401C-AE0F-970C7076403F}">
      <dgm:prSet/>
      <dgm:spPr/>
      <dgm:t>
        <a:bodyPr/>
        <a:lstStyle/>
        <a:p>
          <a:pPr rtl="0"/>
          <a:r>
            <a:rPr lang="en-US" smtClean="0"/>
            <a:t>EAV</a:t>
          </a:r>
          <a:endParaRPr lang="en-CA"/>
        </a:p>
      </dgm:t>
    </dgm:pt>
    <dgm:pt modelId="{C74CF361-533F-49F7-9F3A-D0EB46B500B9}" type="parTrans" cxnId="{E2F84A77-B70B-4191-B391-7005DD0ED91F}">
      <dgm:prSet/>
      <dgm:spPr/>
      <dgm:t>
        <a:bodyPr/>
        <a:lstStyle/>
        <a:p>
          <a:endParaRPr lang="en-CA"/>
        </a:p>
      </dgm:t>
    </dgm:pt>
    <dgm:pt modelId="{4D9BF5BF-2D6E-4D36-97B5-1B51DEF8EC23}" type="sibTrans" cxnId="{E2F84A77-B70B-4191-B391-7005DD0ED91F}">
      <dgm:prSet/>
      <dgm:spPr/>
      <dgm:t>
        <a:bodyPr/>
        <a:lstStyle/>
        <a:p>
          <a:endParaRPr lang="en-CA"/>
        </a:p>
      </dgm:t>
    </dgm:pt>
    <dgm:pt modelId="{11B617D1-F282-4A78-8612-24F5022998DA}">
      <dgm:prSet/>
      <dgm:spPr/>
      <dgm:t>
        <a:bodyPr/>
        <a:lstStyle/>
        <a:p>
          <a:pPr rtl="0"/>
          <a:r>
            <a:rPr lang="en-US" dirty="0" smtClean="0"/>
            <a:t>XML</a:t>
          </a:r>
          <a:endParaRPr lang="en-CA" dirty="0"/>
        </a:p>
      </dgm:t>
    </dgm:pt>
    <dgm:pt modelId="{3CD691FF-0927-4D72-98EE-A920965570C8}" type="parTrans" cxnId="{CF90294D-B2F3-4DA5-8027-54B938CAE7E4}">
      <dgm:prSet/>
      <dgm:spPr/>
      <dgm:t>
        <a:bodyPr/>
        <a:lstStyle/>
        <a:p>
          <a:endParaRPr lang="en-CA"/>
        </a:p>
      </dgm:t>
    </dgm:pt>
    <dgm:pt modelId="{C53A49D3-AA16-4480-A181-39FA9D9BE798}" type="sibTrans" cxnId="{CF90294D-B2F3-4DA5-8027-54B938CAE7E4}">
      <dgm:prSet/>
      <dgm:spPr/>
      <dgm:t>
        <a:bodyPr/>
        <a:lstStyle/>
        <a:p>
          <a:endParaRPr lang="en-CA"/>
        </a:p>
      </dgm:t>
    </dgm:pt>
    <dgm:pt modelId="{3771923B-794A-47FB-9D79-7A162E4560E7}">
      <dgm:prSet/>
      <dgm:spPr/>
      <dgm:t>
        <a:bodyPr/>
        <a:lstStyle/>
        <a:p>
          <a:pPr rtl="0"/>
          <a:r>
            <a:rPr lang="en-US" dirty="0" smtClean="0"/>
            <a:t>Architecture paradigm: OLAP/DW and OLTP</a:t>
          </a:r>
          <a:endParaRPr lang="en-CA" dirty="0"/>
        </a:p>
      </dgm:t>
    </dgm:pt>
    <dgm:pt modelId="{2D3C61FD-7446-45CA-A14F-92DEAA9FBDE3}" type="parTrans" cxnId="{9F1555CF-E8AC-44F6-BC19-10C047969569}">
      <dgm:prSet/>
      <dgm:spPr/>
      <dgm:t>
        <a:bodyPr/>
        <a:lstStyle/>
        <a:p>
          <a:endParaRPr lang="en-CA"/>
        </a:p>
      </dgm:t>
    </dgm:pt>
    <dgm:pt modelId="{23AB72D8-5BA8-44B1-8FF9-5DC91D42DB85}" type="sibTrans" cxnId="{9F1555CF-E8AC-44F6-BC19-10C047969569}">
      <dgm:prSet/>
      <dgm:spPr/>
      <dgm:t>
        <a:bodyPr/>
        <a:lstStyle/>
        <a:p>
          <a:endParaRPr lang="en-CA"/>
        </a:p>
      </dgm:t>
    </dgm:pt>
    <dgm:pt modelId="{A58E4458-D627-4AE8-ADE6-ADEEFFA501F0}">
      <dgm:prSet/>
      <dgm:spPr/>
      <dgm:t>
        <a:bodyPr/>
        <a:lstStyle/>
        <a:p>
          <a:pPr rtl="0"/>
          <a:r>
            <a:rPr lang="en-CA" dirty="0" smtClean="0"/>
            <a:t>Optimized for data</a:t>
          </a:r>
          <a:endParaRPr lang="en-CA" dirty="0"/>
        </a:p>
      </dgm:t>
    </dgm:pt>
    <dgm:pt modelId="{04843443-CB65-45CD-B353-AA4E44980EE2}" type="parTrans" cxnId="{C16CA3AD-DB0B-4FB6-B7EA-86A73187F0CA}">
      <dgm:prSet/>
      <dgm:spPr/>
      <dgm:t>
        <a:bodyPr/>
        <a:lstStyle/>
        <a:p>
          <a:endParaRPr lang="en-CA"/>
        </a:p>
      </dgm:t>
    </dgm:pt>
    <dgm:pt modelId="{FC54F20D-A41B-4174-AFA0-1310AC1EFE8D}" type="sibTrans" cxnId="{C16CA3AD-DB0B-4FB6-B7EA-86A73187F0CA}">
      <dgm:prSet/>
      <dgm:spPr/>
      <dgm:t>
        <a:bodyPr/>
        <a:lstStyle/>
        <a:p>
          <a:endParaRPr lang="en-CA"/>
        </a:p>
      </dgm:t>
    </dgm:pt>
    <dgm:pt modelId="{5957EA2B-9FEC-4D37-A026-EC35609AB04B}">
      <dgm:prSet/>
      <dgm:spPr/>
      <dgm:t>
        <a:bodyPr/>
        <a:lstStyle/>
        <a:p>
          <a:pPr rtl="0"/>
          <a:r>
            <a:rPr lang="en-CA" dirty="0" smtClean="0"/>
            <a:t>Optimized for workload</a:t>
          </a:r>
          <a:endParaRPr lang="en-CA" dirty="0"/>
        </a:p>
      </dgm:t>
    </dgm:pt>
    <dgm:pt modelId="{1C08B0D7-6401-4F5B-AB90-1631C77C1F9C}" type="parTrans" cxnId="{12C51887-0DC6-4EA0-998B-8A52A759BCE9}">
      <dgm:prSet/>
      <dgm:spPr/>
      <dgm:t>
        <a:bodyPr/>
        <a:lstStyle/>
        <a:p>
          <a:endParaRPr lang="en-CA"/>
        </a:p>
      </dgm:t>
    </dgm:pt>
    <dgm:pt modelId="{53E71B76-5A2E-4A4A-AF90-C935472E52CF}" type="sibTrans" cxnId="{12C51887-0DC6-4EA0-998B-8A52A759BCE9}">
      <dgm:prSet/>
      <dgm:spPr/>
      <dgm:t>
        <a:bodyPr/>
        <a:lstStyle/>
        <a:p>
          <a:endParaRPr lang="en-CA"/>
        </a:p>
      </dgm:t>
    </dgm:pt>
    <dgm:pt modelId="{DD28A48F-1C1D-498B-8AAE-9E566351A3F9}" type="pres">
      <dgm:prSet presAssocID="{B7BEB74E-A3A5-4FBA-8C90-CFA4827287AA}" presName="Name0" presStyleCnt="0">
        <dgm:presLayoutVars>
          <dgm:dir/>
          <dgm:animLvl val="lvl"/>
          <dgm:resizeHandles val="exact"/>
        </dgm:presLayoutVars>
      </dgm:prSet>
      <dgm:spPr/>
      <dgm:t>
        <a:bodyPr/>
        <a:lstStyle/>
        <a:p>
          <a:endParaRPr lang="en-US"/>
        </a:p>
      </dgm:t>
    </dgm:pt>
    <dgm:pt modelId="{E9342AEA-C943-47CE-B0FD-19CAED2467EF}" type="pres">
      <dgm:prSet presAssocID="{867080EC-E986-4835-B701-AAB4FDC24DBE}" presName="linNode" presStyleCnt="0"/>
      <dgm:spPr/>
    </dgm:pt>
    <dgm:pt modelId="{58E9F223-0023-4DFC-8AD6-DA314A72AF34}" type="pres">
      <dgm:prSet presAssocID="{867080EC-E986-4835-B701-AAB4FDC24DBE}" presName="parTx" presStyleLbl="revTx" presStyleIdx="0" presStyleCnt="2">
        <dgm:presLayoutVars>
          <dgm:chMax val="1"/>
          <dgm:bulletEnabled val="1"/>
        </dgm:presLayoutVars>
      </dgm:prSet>
      <dgm:spPr/>
      <dgm:t>
        <a:bodyPr/>
        <a:lstStyle/>
        <a:p>
          <a:endParaRPr lang="en-US"/>
        </a:p>
      </dgm:t>
    </dgm:pt>
    <dgm:pt modelId="{57F01BBC-1D35-4B7E-9E6F-60A0C2507A0A}" type="pres">
      <dgm:prSet presAssocID="{867080EC-E986-4835-B701-AAB4FDC24DBE}" presName="bracket" presStyleLbl="parChTrans1D1" presStyleIdx="0" presStyleCnt="2"/>
      <dgm:spPr/>
    </dgm:pt>
    <dgm:pt modelId="{D96307A5-8B59-4263-AC78-4B3CD35BABC4}" type="pres">
      <dgm:prSet presAssocID="{867080EC-E986-4835-B701-AAB4FDC24DBE}" presName="spH" presStyleCnt="0"/>
      <dgm:spPr/>
    </dgm:pt>
    <dgm:pt modelId="{98DDA883-2861-4183-99E5-9A1CE17B2351}" type="pres">
      <dgm:prSet presAssocID="{867080EC-E986-4835-B701-AAB4FDC24DBE}" presName="desTx" presStyleLbl="node1" presStyleIdx="0" presStyleCnt="2">
        <dgm:presLayoutVars>
          <dgm:bulletEnabled val="1"/>
        </dgm:presLayoutVars>
      </dgm:prSet>
      <dgm:spPr/>
      <dgm:t>
        <a:bodyPr/>
        <a:lstStyle/>
        <a:p>
          <a:endParaRPr lang="en-CA"/>
        </a:p>
      </dgm:t>
    </dgm:pt>
    <dgm:pt modelId="{D420E009-EACD-4B9E-9932-FD1A7A64E985}" type="pres">
      <dgm:prSet presAssocID="{BB2F3F1C-1835-43E5-9718-B68F1956129D}" presName="spV" presStyleCnt="0"/>
      <dgm:spPr/>
    </dgm:pt>
    <dgm:pt modelId="{B7F0EA82-60C0-415D-9C0D-3B04EEFDC6CB}" type="pres">
      <dgm:prSet presAssocID="{86579D13-DF9C-4E69-A48A-31DF6EB59093}" presName="linNode" presStyleCnt="0"/>
      <dgm:spPr/>
    </dgm:pt>
    <dgm:pt modelId="{3AC7FE1F-3DA3-435B-ADA8-74B4EB65145D}" type="pres">
      <dgm:prSet presAssocID="{86579D13-DF9C-4E69-A48A-31DF6EB59093}" presName="parTx" presStyleLbl="revTx" presStyleIdx="1" presStyleCnt="2">
        <dgm:presLayoutVars>
          <dgm:chMax val="1"/>
          <dgm:bulletEnabled val="1"/>
        </dgm:presLayoutVars>
      </dgm:prSet>
      <dgm:spPr/>
      <dgm:t>
        <a:bodyPr/>
        <a:lstStyle/>
        <a:p>
          <a:endParaRPr lang="en-CA"/>
        </a:p>
      </dgm:t>
    </dgm:pt>
    <dgm:pt modelId="{50A282ED-5A1A-41FD-B7BD-3816225DA1B8}" type="pres">
      <dgm:prSet presAssocID="{86579D13-DF9C-4E69-A48A-31DF6EB59093}" presName="bracket" presStyleLbl="parChTrans1D1" presStyleIdx="1" presStyleCnt="2"/>
      <dgm:spPr/>
    </dgm:pt>
    <dgm:pt modelId="{E4780B25-326B-4F7F-92AA-04969481EE21}" type="pres">
      <dgm:prSet presAssocID="{86579D13-DF9C-4E69-A48A-31DF6EB59093}" presName="spH" presStyleCnt="0"/>
      <dgm:spPr/>
    </dgm:pt>
    <dgm:pt modelId="{252353F8-BCC2-41C2-AAC8-32E733589BFF}" type="pres">
      <dgm:prSet presAssocID="{86579D13-DF9C-4E69-A48A-31DF6EB59093}" presName="desTx" presStyleLbl="node1" presStyleIdx="1" presStyleCnt="2">
        <dgm:presLayoutVars>
          <dgm:bulletEnabled val="1"/>
        </dgm:presLayoutVars>
      </dgm:prSet>
      <dgm:spPr/>
      <dgm:t>
        <a:bodyPr/>
        <a:lstStyle/>
        <a:p>
          <a:endParaRPr lang="en-US"/>
        </a:p>
      </dgm:t>
    </dgm:pt>
  </dgm:ptLst>
  <dgm:cxnLst>
    <dgm:cxn modelId="{12C51887-0DC6-4EA0-998B-8A52A759BCE9}" srcId="{867080EC-E986-4835-B701-AAB4FDC24DBE}" destId="{5957EA2B-9FEC-4D37-A026-EC35609AB04B}" srcOrd="1" destOrd="0" parTransId="{1C08B0D7-6401-4F5B-AB90-1631C77C1F9C}" sibTransId="{53E71B76-5A2E-4A4A-AF90-C935472E52CF}"/>
    <dgm:cxn modelId="{1F9CA1CD-D9DB-4F72-A748-B01CDEF8AD9B}" type="presOf" srcId="{86579D13-DF9C-4E69-A48A-31DF6EB59093}" destId="{3AC7FE1F-3DA3-435B-ADA8-74B4EB65145D}" srcOrd="0" destOrd="0" presId="urn:diagrams.loki3.com/BracketList"/>
    <dgm:cxn modelId="{9F1555CF-E8AC-44F6-BC19-10C047969569}" srcId="{86579D13-DF9C-4E69-A48A-31DF6EB59093}" destId="{3771923B-794A-47FB-9D79-7A162E4560E7}" srcOrd="2" destOrd="0" parTransId="{2D3C61FD-7446-45CA-A14F-92DEAA9FBDE3}" sibTransId="{23AB72D8-5BA8-44B1-8FF9-5DC91D42DB85}"/>
    <dgm:cxn modelId="{3F4DA2E6-FE14-4067-820D-CF3D0F3E59B6}" srcId="{B7BEB74E-A3A5-4FBA-8C90-CFA4827287AA}" destId="{867080EC-E986-4835-B701-AAB4FDC24DBE}" srcOrd="0" destOrd="0" parTransId="{4AF08BCD-4D83-4044-B4E8-3609593E161C}" sibTransId="{BB2F3F1C-1835-43E5-9718-B68F1956129D}"/>
    <dgm:cxn modelId="{E2F84A77-B70B-4191-B391-7005DD0ED91F}" srcId="{86579D13-DF9C-4E69-A48A-31DF6EB59093}" destId="{7551C8F2-8939-401C-AE0F-970C7076403F}" srcOrd="0" destOrd="0" parTransId="{C74CF361-533F-49F7-9F3A-D0EB46B500B9}" sibTransId="{4D9BF5BF-2D6E-4D36-97B5-1B51DEF8EC23}"/>
    <dgm:cxn modelId="{434A6093-19B2-4130-ABD3-9536B30D4C78}" type="presOf" srcId="{3771923B-794A-47FB-9D79-7A162E4560E7}" destId="{252353F8-BCC2-41C2-AAC8-32E733589BFF}" srcOrd="0" destOrd="2" presId="urn:diagrams.loki3.com/BracketList"/>
    <dgm:cxn modelId="{46A0E158-C323-4FEB-9EDC-000C8BCA956E}" type="presOf" srcId="{A58E4458-D627-4AE8-ADE6-ADEEFFA501F0}" destId="{98DDA883-2861-4183-99E5-9A1CE17B2351}" srcOrd="0" destOrd="0" presId="urn:diagrams.loki3.com/BracketList"/>
    <dgm:cxn modelId="{00AB9746-992F-493D-B087-E2FB692F172E}" srcId="{B7BEB74E-A3A5-4FBA-8C90-CFA4827287AA}" destId="{86579D13-DF9C-4E69-A48A-31DF6EB59093}" srcOrd="1" destOrd="0" parTransId="{6AD8B215-A417-43FB-97C4-3335A50FF8F9}" sibTransId="{EC87FB06-F1A6-4C24-BBBF-759118BDA59B}"/>
    <dgm:cxn modelId="{C16CA3AD-DB0B-4FB6-B7EA-86A73187F0CA}" srcId="{867080EC-E986-4835-B701-AAB4FDC24DBE}" destId="{A58E4458-D627-4AE8-ADE6-ADEEFFA501F0}" srcOrd="0" destOrd="0" parTransId="{04843443-CB65-45CD-B353-AA4E44980EE2}" sibTransId="{FC54F20D-A41B-4174-AFA0-1310AC1EFE8D}"/>
    <dgm:cxn modelId="{D4A898C0-12EA-4C11-9F87-161C92840540}" type="presOf" srcId="{7551C8F2-8939-401C-AE0F-970C7076403F}" destId="{252353F8-BCC2-41C2-AAC8-32E733589BFF}" srcOrd="0" destOrd="0" presId="urn:diagrams.loki3.com/BracketList"/>
    <dgm:cxn modelId="{69B34142-00EF-42D1-A8D4-6D85D8181DDE}" type="presOf" srcId="{11B617D1-F282-4A78-8612-24F5022998DA}" destId="{252353F8-BCC2-41C2-AAC8-32E733589BFF}" srcOrd="0" destOrd="1" presId="urn:diagrams.loki3.com/BracketList"/>
    <dgm:cxn modelId="{D23F9A03-50D3-48FC-9689-6C6C648B9DE5}" type="presOf" srcId="{5957EA2B-9FEC-4D37-A026-EC35609AB04B}" destId="{98DDA883-2861-4183-99E5-9A1CE17B2351}" srcOrd="0" destOrd="1" presId="urn:diagrams.loki3.com/BracketList"/>
    <dgm:cxn modelId="{CF90294D-B2F3-4DA5-8027-54B938CAE7E4}" srcId="{86579D13-DF9C-4E69-A48A-31DF6EB59093}" destId="{11B617D1-F282-4A78-8612-24F5022998DA}" srcOrd="1" destOrd="0" parTransId="{3CD691FF-0927-4D72-98EE-A920965570C8}" sibTransId="{C53A49D3-AA16-4480-A181-39FA9D9BE798}"/>
    <dgm:cxn modelId="{0334BEE7-6591-4C81-9B0B-F586879ADE1B}" type="presOf" srcId="{B7BEB74E-A3A5-4FBA-8C90-CFA4827287AA}" destId="{DD28A48F-1C1D-498B-8AAE-9E566351A3F9}" srcOrd="0" destOrd="0" presId="urn:diagrams.loki3.com/BracketList"/>
    <dgm:cxn modelId="{B0C01243-572B-404A-B32E-AB819B80CB8D}" type="presOf" srcId="{867080EC-E986-4835-B701-AAB4FDC24DBE}" destId="{58E9F223-0023-4DFC-8AD6-DA314A72AF34}" srcOrd="0" destOrd="0" presId="urn:diagrams.loki3.com/BracketList"/>
    <dgm:cxn modelId="{6003F075-0983-4441-9CB5-B5F6D09070F5}" type="presParOf" srcId="{DD28A48F-1C1D-498B-8AAE-9E566351A3F9}" destId="{E9342AEA-C943-47CE-B0FD-19CAED2467EF}" srcOrd="0" destOrd="0" presId="urn:diagrams.loki3.com/BracketList"/>
    <dgm:cxn modelId="{8EC7AD15-D31D-4E41-B8A0-C956E4743F38}" type="presParOf" srcId="{E9342AEA-C943-47CE-B0FD-19CAED2467EF}" destId="{58E9F223-0023-4DFC-8AD6-DA314A72AF34}" srcOrd="0" destOrd="0" presId="urn:diagrams.loki3.com/BracketList"/>
    <dgm:cxn modelId="{091B8DDD-9F4C-44DA-9824-17E25A0C671B}" type="presParOf" srcId="{E9342AEA-C943-47CE-B0FD-19CAED2467EF}" destId="{57F01BBC-1D35-4B7E-9E6F-60A0C2507A0A}" srcOrd="1" destOrd="0" presId="urn:diagrams.loki3.com/BracketList"/>
    <dgm:cxn modelId="{084070A0-40E4-4DC3-B7E9-BA4C83A51C82}" type="presParOf" srcId="{E9342AEA-C943-47CE-B0FD-19CAED2467EF}" destId="{D96307A5-8B59-4263-AC78-4B3CD35BABC4}" srcOrd="2" destOrd="0" presId="urn:diagrams.loki3.com/BracketList"/>
    <dgm:cxn modelId="{973132D0-2120-44AE-B300-5F90BD35307E}" type="presParOf" srcId="{E9342AEA-C943-47CE-B0FD-19CAED2467EF}" destId="{98DDA883-2861-4183-99E5-9A1CE17B2351}" srcOrd="3" destOrd="0" presId="urn:diagrams.loki3.com/BracketList"/>
    <dgm:cxn modelId="{06B903B7-0B2C-47B7-8825-70DE6CDE48DB}" type="presParOf" srcId="{DD28A48F-1C1D-498B-8AAE-9E566351A3F9}" destId="{D420E009-EACD-4B9E-9932-FD1A7A64E985}" srcOrd="1" destOrd="0" presId="urn:diagrams.loki3.com/BracketList"/>
    <dgm:cxn modelId="{02C59137-4AE3-4929-B5E2-9807101FF1FD}" type="presParOf" srcId="{DD28A48F-1C1D-498B-8AAE-9E566351A3F9}" destId="{B7F0EA82-60C0-415D-9C0D-3B04EEFDC6CB}" srcOrd="2" destOrd="0" presId="urn:diagrams.loki3.com/BracketList"/>
    <dgm:cxn modelId="{F481142F-2F30-4867-BCEE-EDC2ACAF737A}" type="presParOf" srcId="{B7F0EA82-60C0-415D-9C0D-3B04EEFDC6CB}" destId="{3AC7FE1F-3DA3-435B-ADA8-74B4EB65145D}" srcOrd="0" destOrd="0" presId="urn:diagrams.loki3.com/BracketList"/>
    <dgm:cxn modelId="{E9CAB106-AEAE-419E-8DC2-498A3E124629}" type="presParOf" srcId="{B7F0EA82-60C0-415D-9C0D-3B04EEFDC6CB}" destId="{50A282ED-5A1A-41FD-B7BD-3816225DA1B8}" srcOrd="1" destOrd="0" presId="urn:diagrams.loki3.com/BracketList"/>
    <dgm:cxn modelId="{7AE151DC-A96C-4979-B4A8-98D60F0C3F1B}" type="presParOf" srcId="{B7F0EA82-60C0-415D-9C0D-3B04EEFDC6CB}" destId="{E4780B25-326B-4F7F-92AA-04969481EE21}" srcOrd="2" destOrd="0" presId="urn:diagrams.loki3.com/BracketList"/>
    <dgm:cxn modelId="{498F3F83-D071-4A1E-8B0F-E5A2B98F1C2A}" type="presParOf" srcId="{B7F0EA82-60C0-415D-9C0D-3B04EEFDC6CB}" destId="{252353F8-BCC2-41C2-AAC8-32E733589BFF}"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0730820-B6C2-4705-8439-C6CF724A6F4F}" type="doc">
      <dgm:prSet loTypeId="urn:microsoft.com/office/officeart/2008/layout/LinedList" loCatId="list" qsTypeId="urn:microsoft.com/office/officeart/2005/8/quickstyle/simple1" qsCatId="simple" csTypeId="urn:microsoft.com/office/officeart/2005/8/colors/accent3_3" csCatId="accent3"/>
      <dgm:spPr/>
      <dgm:t>
        <a:bodyPr/>
        <a:lstStyle/>
        <a:p>
          <a:endParaRPr lang="en-CA"/>
        </a:p>
      </dgm:t>
    </dgm:pt>
    <dgm:pt modelId="{BB01F643-E7AD-4D0F-9C65-8F78E507F2D1}">
      <dgm:prSet/>
      <dgm:spPr/>
      <dgm:t>
        <a:bodyPr/>
        <a:lstStyle/>
        <a:p>
          <a:pPr rtl="0"/>
          <a:r>
            <a:rPr lang="en-US" dirty="0" smtClean="0"/>
            <a:t>Basically Available</a:t>
          </a:r>
          <a:endParaRPr lang="en-CA" dirty="0"/>
        </a:p>
      </dgm:t>
    </dgm:pt>
    <dgm:pt modelId="{26A31C11-FB68-4FCA-BEDA-AFDD79F45D5C}" type="parTrans" cxnId="{4FFF0C91-CDAC-48B3-B0E2-A1BC5C9FCE03}">
      <dgm:prSet/>
      <dgm:spPr/>
      <dgm:t>
        <a:bodyPr/>
        <a:lstStyle/>
        <a:p>
          <a:endParaRPr lang="en-CA"/>
        </a:p>
      </dgm:t>
    </dgm:pt>
    <dgm:pt modelId="{25974DBF-556E-4F9D-82D2-79B325CAC664}" type="sibTrans" cxnId="{4FFF0C91-CDAC-48B3-B0E2-A1BC5C9FCE03}">
      <dgm:prSet/>
      <dgm:spPr/>
      <dgm:t>
        <a:bodyPr/>
        <a:lstStyle/>
        <a:p>
          <a:endParaRPr lang="en-CA"/>
        </a:p>
      </dgm:t>
    </dgm:pt>
    <dgm:pt modelId="{62FBFB9F-0435-43EE-9D8B-69BAFD1A5C44}">
      <dgm:prSet/>
      <dgm:spPr/>
      <dgm:t>
        <a:bodyPr/>
        <a:lstStyle/>
        <a:p>
          <a:pPr rtl="0"/>
          <a:r>
            <a:rPr lang="en-US" smtClean="0"/>
            <a:t>Soft State</a:t>
          </a:r>
          <a:endParaRPr lang="en-CA"/>
        </a:p>
      </dgm:t>
    </dgm:pt>
    <dgm:pt modelId="{4A9F8369-A450-477B-905C-2FCA4B6372B4}" type="parTrans" cxnId="{25624E50-4D72-40B1-ABE4-09BE88496AE6}">
      <dgm:prSet/>
      <dgm:spPr/>
      <dgm:t>
        <a:bodyPr/>
        <a:lstStyle/>
        <a:p>
          <a:endParaRPr lang="en-CA"/>
        </a:p>
      </dgm:t>
    </dgm:pt>
    <dgm:pt modelId="{AA9F3EEF-A013-415F-9F3B-7CE09580DED8}" type="sibTrans" cxnId="{25624E50-4D72-40B1-ABE4-09BE88496AE6}">
      <dgm:prSet/>
      <dgm:spPr/>
      <dgm:t>
        <a:bodyPr/>
        <a:lstStyle/>
        <a:p>
          <a:endParaRPr lang="en-CA"/>
        </a:p>
      </dgm:t>
    </dgm:pt>
    <dgm:pt modelId="{EF63A6C9-961C-46A3-87EB-BE1385EA4DF8}">
      <dgm:prSet/>
      <dgm:spPr/>
      <dgm:t>
        <a:bodyPr/>
        <a:lstStyle/>
        <a:p>
          <a:pPr rtl="0"/>
          <a:r>
            <a:rPr lang="en-US" smtClean="0"/>
            <a:t>Eventually Consistent</a:t>
          </a:r>
          <a:endParaRPr lang="en-CA"/>
        </a:p>
      </dgm:t>
    </dgm:pt>
    <dgm:pt modelId="{7B95155A-9F46-4CC9-9D4A-E3E7F2AD13D2}" type="parTrans" cxnId="{14D814BE-58FA-4290-AFCF-66D3360C186A}">
      <dgm:prSet/>
      <dgm:spPr/>
      <dgm:t>
        <a:bodyPr/>
        <a:lstStyle/>
        <a:p>
          <a:endParaRPr lang="en-CA"/>
        </a:p>
      </dgm:t>
    </dgm:pt>
    <dgm:pt modelId="{DE0DA149-15D8-4428-8E50-3C1BE2D17497}" type="sibTrans" cxnId="{14D814BE-58FA-4290-AFCF-66D3360C186A}">
      <dgm:prSet/>
      <dgm:spPr/>
      <dgm:t>
        <a:bodyPr/>
        <a:lstStyle/>
        <a:p>
          <a:endParaRPr lang="en-CA"/>
        </a:p>
      </dgm:t>
    </dgm:pt>
    <dgm:pt modelId="{A22520A7-5808-4B5F-9DAE-BF687C3FB4FC}" type="pres">
      <dgm:prSet presAssocID="{00730820-B6C2-4705-8439-C6CF724A6F4F}" presName="vert0" presStyleCnt="0">
        <dgm:presLayoutVars>
          <dgm:dir/>
          <dgm:animOne val="branch"/>
          <dgm:animLvl val="lvl"/>
        </dgm:presLayoutVars>
      </dgm:prSet>
      <dgm:spPr/>
      <dgm:t>
        <a:bodyPr/>
        <a:lstStyle/>
        <a:p>
          <a:endParaRPr lang="en-US"/>
        </a:p>
      </dgm:t>
    </dgm:pt>
    <dgm:pt modelId="{1E65765A-842C-424C-9433-961020819D29}" type="pres">
      <dgm:prSet presAssocID="{BB01F643-E7AD-4D0F-9C65-8F78E507F2D1}" presName="thickLine" presStyleLbl="alignNode1" presStyleIdx="0" presStyleCnt="3"/>
      <dgm:spPr/>
    </dgm:pt>
    <dgm:pt modelId="{AF370654-6787-49B5-9367-0C39731A4178}" type="pres">
      <dgm:prSet presAssocID="{BB01F643-E7AD-4D0F-9C65-8F78E507F2D1}" presName="horz1" presStyleCnt="0"/>
      <dgm:spPr/>
    </dgm:pt>
    <dgm:pt modelId="{5EE366FD-C33D-4637-ABDF-9BC7B612D219}" type="pres">
      <dgm:prSet presAssocID="{BB01F643-E7AD-4D0F-9C65-8F78E507F2D1}" presName="tx1" presStyleLbl="revTx" presStyleIdx="0" presStyleCnt="3"/>
      <dgm:spPr/>
      <dgm:t>
        <a:bodyPr/>
        <a:lstStyle/>
        <a:p>
          <a:endParaRPr lang="en-US"/>
        </a:p>
      </dgm:t>
    </dgm:pt>
    <dgm:pt modelId="{0F03FA98-FE40-4D7E-AD31-322A178FBA6B}" type="pres">
      <dgm:prSet presAssocID="{BB01F643-E7AD-4D0F-9C65-8F78E507F2D1}" presName="vert1" presStyleCnt="0"/>
      <dgm:spPr/>
    </dgm:pt>
    <dgm:pt modelId="{2B23A35F-F047-48E4-B8AC-B13182D510BB}" type="pres">
      <dgm:prSet presAssocID="{62FBFB9F-0435-43EE-9D8B-69BAFD1A5C44}" presName="thickLine" presStyleLbl="alignNode1" presStyleIdx="1" presStyleCnt="3"/>
      <dgm:spPr/>
    </dgm:pt>
    <dgm:pt modelId="{E8F3076D-656A-4C51-AC84-6B91C6347A14}" type="pres">
      <dgm:prSet presAssocID="{62FBFB9F-0435-43EE-9D8B-69BAFD1A5C44}" presName="horz1" presStyleCnt="0"/>
      <dgm:spPr/>
    </dgm:pt>
    <dgm:pt modelId="{484903C1-8602-4B20-9A77-FDB66FEBC9CA}" type="pres">
      <dgm:prSet presAssocID="{62FBFB9F-0435-43EE-9D8B-69BAFD1A5C44}" presName="tx1" presStyleLbl="revTx" presStyleIdx="1" presStyleCnt="3"/>
      <dgm:spPr/>
      <dgm:t>
        <a:bodyPr/>
        <a:lstStyle/>
        <a:p>
          <a:endParaRPr lang="en-US"/>
        </a:p>
      </dgm:t>
    </dgm:pt>
    <dgm:pt modelId="{8279B670-8D51-4CE9-9014-7F859269F330}" type="pres">
      <dgm:prSet presAssocID="{62FBFB9F-0435-43EE-9D8B-69BAFD1A5C44}" presName="vert1" presStyleCnt="0"/>
      <dgm:spPr/>
    </dgm:pt>
    <dgm:pt modelId="{7FB793CA-54AF-438A-887C-99924359FE1D}" type="pres">
      <dgm:prSet presAssocID="{EF63A6C9-961C-46A3-87EB-BE1385EA4DF8}" presName="thickLine" presStyleLbl="alignNode1" presStyleIdx="2" presStyleCnt="3"/>
      <dgm:spPr/>
    </dgm:pt>
    <dgm:pt modelId="{7DF73231-B124-4E1D-B6DE-E56485A80C58}" type="pres">
      <dgm:prSet presAssocID="{EF63A6C9-961C-46A3-87EB-BE1385EA4DF8}" presName="horz1" presStyleCnt="0"/>
      <dgm:spPr/>
    </dgm:pt>
    <dgm:pt modelId="{9DF0F2EA-9CDC-47BB-B52A-01B221C96D05}" type="pres">
      <dgm:prSet presAssocID="{EF63A6C9-961C-46A3-87EB-BE1385EA4DF8}" presName="tx1" presStyleLbl="revTx" presStyleIdx="2" presStyleCnt="3"/>
      <dgm:spPr/>
      <dgm:t>
        <a:bodyPr/>
        <a:lstStyle/>
        <a:p>
          <a:endParaRPr lang="en-US"/>
        </a:p>
      </dgm:t>
    </dgm:pt>
    <dgm:pt modelId="{306AA94B-ACF6-4EEE-A21E-17B53B8C7E69}" type="pres">
      <dgm:prSet presAssocID="{EF63A6C9-961C-46A3-87EB-BE1385EA4DF8}" presName="vert1" presStyleCnt="0"/>
      <dgm:spPr/>
    </dgm:pt>
  </dgm:ptLst>
  <dgm:cxnLst>
    <dgm:cxn modelId="{5A6BFD80-E556-445F-BD07-A96D6B0E2F15}" type="presOf" srcId="{EF63A6C9-961C-46A3-87EB-BE1385EA4DF8}" destId="{9DF0F2EA-9CDC-47BB-B52A-01B221C96D05}" srcOrd="0" destOrd="0" presId="urn:microsoft.com/office/officeart/2008/layout/LinedList"/>
    <dgm:cxn modelId="{14D814BE-58FA-4290-AFCF-66D3360C186A}" srcId="{00730820-B6C2-4705-8439-C6CF724A6F4F}" destId="{EF63A6C9-961C-46A3-87EB-BE1385EA4DF8}" srcOrd="2" destOrd="0" parTransId="{7B95155A-9F46-4CC9-9D4A-E3E7F2AD13D2}" sibTransId="{DE0DA149-15D8-4428-8E50-3C1BE2D17497}"/>
    <dgm:cxn modelId="{FBF16962-9248-4313-8036-4612990B8C1B}" type="presOf" srcId="{62FBFB9F-0435-43EE-9D8B-69BAFD1A5C44}" destId="{484903C1-8602-4B20-9A77-FDB66FEBC9CA}" srcOrd="0" destOrd="0" presId="urn:microsoft.com/office/officeart/2008/layout/LinedList"/>
    <dgm:cxn modelId="{4FFF0C91-CDAC-48B3-B0E2-A1BC5C9FCE03}" srcId="{00730820-B6C2-4705-8439-C6CF724A6F4F}" destId="{BB01F643-E7AD-4D0F-9C65-8F78E507F2D1}" srcOrd="0" destOrd="0" parTransId="{26A31C11-FB68-4FCA-BEDA-AFDD79F45D5C}" sibTransId="{25974DBF-556E-4F9D-82D2-79B325CAC664}"/>
    <dgm:cxn modelId="{25624E50-4D72-40B1-ABE4-09BE88496AE6}" srcId="{00730820-B6C2-4705-8439-C6CF724A6F4F}" destId="{62FBFB9F-0435-43EE-9D8B-69BAFD1A5C44}" srcOrd="1" destOrd="0" parTransId="{4A9F8369-A450-477B-905C-2FCA4B6372B4}" sibTransId="{AA9F3EEF-A013-415F-9F3B-7CE09580DED8}"/>
    <dgm:cxn modelId="{1570EF9F-B8E1-44DB-9979-F53BF072A7B9}" type="presOf" srcId="{BB01F643-E7AD-4D0F-9C65-8F78E507F2D1}" destId="{5EE366FD-C33D-4637-ABDF-9BC7B612D219}" srcOrd="0" destOrd="0" presId="urn:microsoft.com/office/officeart/2008/layout/LinedList"/>
    <dgm:cxn modelId="{432101B0-472B-4CDC-AA58-41CE084FFF83}" type="presOf" srcId="{00730820-B6C2-4705-8439-C6CF724A6F4F}" destId="{A22520A7-5808-4B5F-9DAE-BF687C3FB4FC}" srcOrd="0" destOrd="0" presId="urn:microsoft.com/office/officeart/2008/layout/LinedList"/>
    <dgm:cxn modelId="{146D1E06-BF00-421A-8C21-849F2D2CB502}" type="presParOf" srcId="{A22520A7-5808-4B5F-9DAE-BF687C3FB4FC}" destId="{1E65765A-842C-424C-9433-961020819D29}" srcOrd="0" destOrd="0" presId="urn:microsoft.com/office/officeart/2008/layout/LinedList"/>
    <dgm:cxn modelId="{9B22B2AB-180B-416A-A1F0-F147524275F0}" type="presParOf" srcId="{A22520A7-5808-4B5F-9DAE-BF687C3FB4FC}" destId="{AF370654-6787-49B5-9367-0C39731A4178}" srcOrd="1" destOrd="0" presId="urn:microsoft.com/office/officeart/2008/layout/LinedList"/>
    <dgm:cxn modelId="{68357E4A-C977-4754-AC31-115F86545A4A}" type="presParOf" srcId="{AF370654-6787-49B5-9367-0C39731A4178}" destId="{5EE366FD-C33D-4637-ABDF-9BC7B612D219}" srcOrd="0" destOrd="0" presId="urn:microsoft.com/office/officeart/2008/layout/LinedList"/>
    <dgm:cxn modelId="{D8A6941A-AD8A-4510-B01A-653211D53080}" type="presParOf" srcId="{AF370654-6787-49B5-9367-0C39731A4178}" destId="{0F03FA98-FE40-4D7E-AD31-322A178FBA6B}" srcOrd="1" destOrd="0" presId="urn:microsoft.com/office/officeart/2008/layout/LinedList"/>
    <dgm:cxn modelId="{47319616-4F27-461C-B5E5-CA6C76EFCC95}" type="presParOf" srcId="{A22520A7-5808-4B5F-9DAE-BF687C3FB4FC}" destId="{2B23A35F-F047-48E4-B8AC-B13182D510BB}" srcOrd="2" destOrd="0" presId="urn:microsoft.com/office/officeart/2008/layout/LinedList"/>
    <dgm:cxn modelId="{2D7E0AB4-4E4D-4708-B294-1F7BCB0C2DE9}" type="presParOf" srcId="{A22520A7-5808-4B5F-9DAE-BF687C3FB4FC}" destId="{E8F3076D-656A-4C51-AC84-6B91C6347A14}" srcOrd="3" destOrd="0" presId="urn:microsoft.com/office/officeart/2008/layout/LinedList"/>
    <dgm:cxn modelId="{D6F4571F-CEB2-43E3-88C5-F0600589EB74}" type="presParOf" srcId="{E8F3076D-656A-4C51-AC84-6B91C6347A14}" destId="{484903C1-8602-4B20-9A77-FDB66FEBC9CA}" srcOrd="0" destOrd="0" presId="urn:microsoft.com/office/officeart/2008/layout/LinedList"/>
    <dgm:cxn modelId="{04A6FA52-BAB6-4814-9F3D-AD9C4310C248}" type="presParOf" srcId="{E8F3076D-656A-4C51-AC84-6B91C6347A14}" destId="{8279B670-8D51-4CE9-9014-7F859269F330}" srcOrd="1" destOrd="0" presId="urn:microsoft.com/office/officeart/2008/layout/LinedList"/>
    <dgm:cxn modelId="{FB79BB8C-C9D8-4109-81CD-33DC0A0C4BE4}" type="presParOf" srcId="{A22520A7-5808-4B5F-9DAE-BF687C3FB4FC}" destId="{7FB793CA-54AF-438A-887C-99924359FE1D}" srcOrd="4" destOrd="0" presId="urn:microsoft.com/office/officeart/2008/layout/LinedList"/>
    <dgm:cxn modelId="{A71CBE36-BCA6-440C-9EB0-716D8D2AD1EB}" type="presParOf" srcId="{A22520A7-5808-4B5F-9DAE-BF687C3FB4FC}" destId="{7DF73231-B124-4E1D-B6DE-E56485A80C58}" srcOrd="5" destOrd="0" presId="urn:microsoft.com/office/officeart/2008/layout/LinedList"/>
    <dgm:cxn modelId="{D1E6ADB6-5902-4C63-8C8B-A29934B34780}" type="presParOf" srcId="{7DF73231-B124-4E1D-B6DE-E56485A80C58}" destId="{9DF0F2EA-9CDC-47BB-B52A-01B221C96D05}" srcOrd="0" destOrd="0" presId="urn:microsoft.com/office/officeart/2008/layout/LinedList"/>
    <dgm:cxn modelId="{FBDD6345-F24B-4672-99F6-30D548CFC41A}" type="presParOf" srcId="{7DF73231-B124-4E1D-B6DE-E56485A80C58}" destId="{306AA94B-ACF6-4EEE-A21E-17B53B8C7E69}"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949F103-9D4F-4342-A323-A4F46A81B742}" type="doc">
      <dgm:prSet loTypeId="urn:microsoft.com/office/officeart/2008/layout/LinedList" loCatId="list" qsTypeId="urn:microsoft.com/office/officeart/2005/8/quickstyle/simple1" qsCatId="simple" csTypeId="urn:microsoft.com/office/officeart/2005/8/colors/accent4_2" csCatId="accent4"/>
      <dgm:spPr/>
      <dgm:t>
        <a:bodyPr/>
        <a:lstStyle/>
        <a:p>
          <a:endParaRPr lang="en-CA"/>
        </a:p>
      </dgm:t>
    </dgm:pt>
    <dgm:pt modelId="{51DAFAFA-0648-4152-B310-FD3CF925F7E6}">
      <dgm:prSet/>
      <dgm:spPr/>
      <dgm:t>
        <a:bodyPr/>
        <a:lstStyle/>
        <a:p>
          <a:pPr rtl="0"/>
          <a:r>
            <a:rPr lang="en-CA" smtClean="0"/>
            <a:t>Atomic</a:t>
          </a:r>
          <a:endParaRPr lang="en-CA"/>
        </a:p>
      </dgm:t>
    </dgm:pt>
    <dgm:pt modelId="{7D3784CD-3A7B-4D09-982F-FC116D0EA1DA}" type="parTrans" cxnId="{027081A1-40EC-4169-9EA8-2A6BC28767C4}">
      <dgm:prSet/>
      <dgm:spPr/>
      <dgm:t>
        <a:bodyPr/>
        <a:lstStyle/>
        <a:p>
          <a:endParaRPr lang="en-CA"/>
        </a:p>
      </dgm:t>
    </dgm:pt>
    <dgm:pt modelId="{EB84AF6B-71E0-44E9-8160-1D0F6F56D8E8}" type="sibTrans" cxnId="{027081A1-40EC-4169-9EA8-2A6BC28767C4}">
      <dgm:prSet/>
      <dgm:spPr/>
      <dgm:t>
        <a:bodyPr/>
        <a:lstStyle/>
        <a:p>
          <a:endParaRPr lang="en-CA"/>
        </a:p>
      </dgm:t>
    </dgm:pt>
    <dgm:pt modelId="{BCECA78E-DB7D-4874-A093-FECDA21654BF}">
      <dgm:prSet/>
      <dgm:spPr/>
      <dgm:t>
        <a:bodyPr/>
        <a:lstStyle/>
        <a:p>
          <a:pPr rtl="0"/>
          <a:r>
            <a:rPr lang="en-CA" smtClean="0"/>
            <a:t>Consistent</a:t>
          </a:r>
          <a:endParaRPr lang="en-CA"/>
        </a:p>
      </dgm:t>
    </dgm:pt>
    <dgm:pt modelId="{BA9A44FC-9E1A-443C-A676-2B8B085CE661}" type="parTrans" cxnId="{93261CE0-F402-4121-9A9F-8AF80C613BF4}">
      <dgm:prSet/>
      <dgm:spPr/>
      <dgm:t>
        <a:bodyPr/>
        <a:lstStyle/>
        <a:p>
          <a:endParaRPr lang="en-CA"/>
        </a:p>
      </dgm:t>
    </dgm:pt>
    <dgm:pt modelId="{A3844F1B-4370-43D4-8E81-E5BF8956BB94}" type="sibTrans" cxnId="{93261CE0-F402-4121-9A9F-8AF80C613BF4}">
      <dgm:prSet/>
      <dgm:spPr/>
      <dgm:t>
        <a:bodyPr/>
        <a:lstStyle/>
        <a:p>
          <a:endParaRPr lang="en-CA"/>
        </a:p>
      </dgm:t>
    </dgm:pt>
    <dgm:pt modelId="{4A01DFA4-43F5-4AD1-BC8B-5FF6E421BBB9}">
      <dgm:prSet/>
      <dgm:spPr/>
      <dgm:t>
        <a:bodyPr/>
        <a:lstStyle/>
        <a:p>
          <a:pPr rtl="0"/>
          <a:r>
            <a:rPr lang="en-CA" smtClean="0"/>
            <a:t>Isolated</a:t>
          </a:r>
          <a:endParaRPr lang="en-CA"/>
        </a:p>
      </dgm:t>
    </dgm:pt>
    <dgm:pt modelId="{514BF7A8-471F-48FB-B6B7-48ED6ACBF1B1}" type="parTrans" cxnId="{547EA447-4DCE-4483-8900-C06ED3A03C1A}">
      <dgm:prSet/>
      <dgm:spPr/>
      <dgm:t>
        <a:bodyPr/>
        <a:lstStyle/>
        <a:p>
          <a:endParaRPr lang="en-CA"/>
        </a:p>
      </dgm:t>
    </dgm:pt>
    <dgm:pt modelId="{28F55886-4B8E-4F5C-80F5-9C26613B443F}" type="sibTrans" cxnId="{547EA447-4DCE-4483-8900-C06ED3A03C1A}">
      <dgm:prSet/>
      <dgm:spPr/>
      <dgm:t>
        <a:bodyPr/>
        <a:lstStyle/>
        <a:p>
          <a:endParaRPr lang="en-CA"/>
        </a:p>
      </dgm:t>
    </dgm:pt>
    <dgm:pt modelId="{58FCE728-B58D-442F-9321-32D6A3068793}">
      <dgm:prSet/>
      <dgm:spPr/>
      <dgm:t>
        <a:bodyPr/>
        <a:lstStyle/>
        <a:p>
          <a:pPr rtl="0"/>
          <a:r>
            <a:rPr lang="en-CA" smtClean="0"/>
            <a:t>Durable</a:t>
          </a:r>
          <a:endParaRPr lang="en-CA"/>
        </a:p>
      </dgm:t>
    </dgm:pt>
    <dgm:pt modelId="{15EBE0F0-42BF-4D9E-A1C5-B0D7705640B6}" type="parTrans" cxnId="{A3F401AA-842F-4BA1-A249-09E68264522F}">
      <dgm:prSet/>
      <dgm:spPr/>
      <dgm:t>
        <a:bodyPr/>
        <a:lstStyle/>
        <a:p>
          <a:endParaRPr lang="en-CA"/>
        </a:p>
      </dgm:t>
    </dgm:pt>
    <dgm:pt modelId="{B4D7B352-391C-43E1-881A-D20DD0289E2A}" type="sibTrans" cxnId="{A3F401AA-842F-4BA1-A249-09E68264522F}">
      <dgm:prSet/>
      <dgm:spPr/>
      <dgm:t>
        <a:bodyPr/>
        <a:lstStyle/>
        <a:p>
          <a:endParaRPr lang="en-CA"/>
        </a:p>
      </dgm:t>
    </dgm:pt>
    <dgm:pt modelId="{8886361F-5D54-4ABE-A12A-28BD9BD37CF5}" type="pres">
      <dgm:prSet presAssocID="{8949F103-9D4F-4342-A323-A4F46A81B742}" presName="vert0" presStyleCnt="0">
        <dgm:presLayoutVars>
          <dgm:dir/>
          <dgm:animOne val="branch"/>
          <dgm:animLvl val="lvl"/>
        </dgm:presLayoutVars>
      </dgm:prSet>
      <dgm:spPr/>
      <dgm:t>
        <a:bodyPr/>
        <a:lstStyle/>
        <a:p>
          <a:endParaRPr lang="en-US"/>
        </a:p>
      </dgm:t>
    </dgm:pt>
    <dgm:pt modelId="{54387168-8B6B-4664-BF89-5EE428543463}" type="pres">
      <dgm:prSet presAssocID="{51DAFAFA-0648-4152-B310-FD3CF925F7E6}" presName="thickLine" presStyleLbl="alignNode1" presStyleIdx="0" presStyleCnt="4"/>
      <dgm:spPr/>
    </dgm:pt>
    <dgm:pt modelId="{CA208BB0-8369-46A0-8A19-49D0163DBF01}" type="pres">
      <dgm:prSet presAssocID="{51DAFAFA-0648-4152-B310-FD3CF925F7E6}" presName="horz1" presStyleCnt="0"/>
      <dgm:spPr/>
    </dgm:pt>
    <dgm:pt modelId="{414949E1-7D38-403A-8835-7C53E7793D42}" type="pres">
      <dgm:prSet presAssocID="{51DAFAFA-0648-4152-B310-FD3CF925F7E6}" presName="tx1" presStyleLbl="revTx" presStyleIdx="0" presStyleCnt="4"/>
      <dgm:spPr/>
      <dgm:t>
        <a:bodyPr/>
        <a:lstStyle/>
        <a:p>
          <a:endParaRPr lang="en-US"/>
        </a:p>
      </dgm:t>
    </dgm:pt>
    <dgm:pt modelId="{69AE4113-91C2-4679-969D-425CD4A0B5EC}" type="pres">
      <dgm:prSet presAssocID="{51DAFAFA-0648-4152-B310-FD3CF925F7E6}" presName="vert1" presStyleCnt="0"/>
      <dgm:spPr/>
    </dgm:pt>
    <dgm:pt modelId="{24A1C3D6-D2B5-45F6-B3EC-7E56178D9CE4}" type="pres">
      <dgm:prSet presAssocID="{BCECA78E-DB7D-4874-A093-FECDA21654BF}" presName="thickLine" presStyleLbl="alignNode1" presStyleIdx="1" presStyleCnt="4"/>
      <dgm:spPr/>
    </dgm:pt>
    <dgm:pt modelId="{F9A01873-7590-418B-BCF8-5016A8F09BC5}" type="pres">
      <dgm:prSet presAssocID="{BCECA78E-DB7D-4874-A093-FECDA21654BF}" presName="horz1" presStyleCnt="0"/>
      <dgm:spPr/>
    </dgm:pt>
    <dgm:pt modelId="{72F3A812-555A-4A0D-BF25-D30796407AE1}" type="pres">
      <dgm:prSet presAssocID="{BCECA78E-DB7D-4874-A093-FECDA21654BF}" presName="tx1" presStyleLbl="revTx" presStyleIdx="1" presStyleCnt="4"/>
      <dgm:spPr/>
      <dgm:t>
        <a:bodyPr/>
        <a:lstStyle/>
        <a:p>
          <a:endParaRPr lang="en-US"/>
        </a:p>
      </dgm:t>
    </dgm:pt>
    <dgm:pt modelId="{2F114E3C-4C21-472E-9AEE-B0AB74FE3F49}" type="pres">
      <dgm:prSet presAssocID="{BCECA78E-DB7D-4874-A093-FECDA21654BF}" presName="vert1" presStyleCnt="0"/>
      <dgm:spPr/>
    </dgm:pt>
    <dgm:pt modelId="{D03A3065-6D20-44A8-9E29-E69371A98C73}" type="pres">
      <dgm:prSet presAssocID="{4A01DFA4-43F5-4AD1-BC8B-5FF6E421BBB9}" presName="thickLine" presStyleLbl="alignNode1" presStyleIdx="2" presStyleCnt="4"/>
      <dgm:spPr/>
    </dgm:pt>
    <dgm:pt modelId="{060AB045-4A37-4154-BC45-476383E63518}" type="pres">
      <dgm:prSet presAssocID="{4A01DFA4-43F5-4AD1-BC8B-5FF6E421BBB9}" presName="horz1" presStyleCnt="0"/>
      <dgm:spPr/>
    </dgm:pt>
    <dgm:pt modelId="{0056E57C-52F8-4D93-AD1D-13C873035E08}" type="pres">
      <dgm:prSet presAssocID="{4A01DFA4-43F5-4AD1-BC8B-5FF6E421BBB9}" presName="tx1" presStyleLbl="revTx" presStyleIdx="2" presStyleCnt="4"/>
      <dgm:spPr/>
      <dgm:t>
        <a:bodyPr/>
        <a:lstStyle/>
        <a:p>
          <a:endParaRPr lang="en-US"/>
        </a:p>
      </dgm:t>
    </dgm:pt>
    <dgm:pt modelId="{9235EF61-4040-4E8B-A410-E489AB00CE10}" type="pres">
      <dgm:prSet presAssocID="{4A01DFA4-43F5-4AD1-BC8B-5FF6E421BBB9}" presName="vert1" presStyleCnt="0"/>
      <dgm:spPr/>
    </dgm:pt>
    <dgm:pt modelId="{8DAE5AD9-B75E-4CAF-A02E-CA2C0BBE1ED5}" type="pres">
      <dgm:prSet presAssocID="{58FCE728-B58D-442F-9321-32D6A3068793}" presName="thickLine" presStyleLbl="alignNode1" presStyleIdx="3" presStyleCnt="4"/>
      <dgm:spPr/>
    </dgm:pt>
    <dgm:pt modelId="{66B39DA2-3625-4744-A64A-7C9E4F98F8A7}" type="pres">
      <dgm:prSet presAssocID="{58FCE728-B58D-442F-9321-32D6A3068793}" presName="horz1" presStyleCnt="0"/>
      <dgm:spPr/>
    </dgm:pt>
    <dgm:pt modelId="{DC76AF78-CDA1-4C85-8E89-27BBEA04D9BF}" type="pres">
      <dgm:prSet presAssocID="{58FCE728-B58D-442F-9321-32D6A3068793}" presName="tx1" presStyleLbl="revTx" presStyleIdx="3" presStyleCnt="4"/>
      <dgm:spPr/>
      <dgm:t>
        <a:bodyPr/>
        <a:lstStyle/>
        <a:p>
          <a:endParaRPr lang="en-US"/>
        </a:p>
      </dgm:t>
    </dgm:pt>
    <dgm:pt modelId="{9CEC7929-2207-46EE-A771-F3615C831C21}" type="pres">
      <dgm:prSet presAssocID="{58FCE728-B58D-442F-9321-32D6A3068793}" presName="vert1" presStyleCnt="0"/>
      <dgm:spPr/>
    </dgm:pt>
  </dgm:ptLst>
  <dgm:cxnLst>
    <dgm:cxn modelId="{93261CE0-F402-4121-9A9F-8AF80C613BF4}" srcId="{8949F103-9D4F-4342-A323-A4F46A81B742}" destId="{BCECA78E-DB7D-4874-A093-FECDA21654BF}" srcOrd="1" destOrd="0" parTransId="{BA9A44FC-9E1A-443C-A676-2B8B085CE661}" sibTransId="{A3844F1B-4370-43D4-8E81-E5BF8956BB94}"/>
    <dgm:cxn modelId="{547EA447-4DCE-4483-8900-C06ED3A03C1A}" srcId="{8949F103-9D4F-4342-A323-A4F46A81B742}" destId="{4A01DFA4-43F5-4AD1-BC8B-5FF6E421BBB9}" srcOrd="2" destOrd="0" parTransId="{514BF7A8-471F-48FB-B6B7-48ED6ACBF1B1}" sibTransId="{28F55886-4B8E-4F5C-80F5-9C26613B443F}"/>
    <dgm:cxn modelId="{F95D6392-AC22-412D-897A-492C0C885BE9}" type="presOf" srcId="{4A01DFA4-43F5-4AD1-BC8B-5FF6E421BBB9}" destId="{0056E57C-52F8-4D93-AD1D-13C873035E08}" srcOrd="0" destOrd="0" presId="urn:microsoft.com/office/officeart/2008/layout/LinedList"/>
    <dgm:cxn modelId="{A3F401AA-842F-4BA1-A249-09E68264522F}" srcId="{8949F103-9D4F-4342-A323-A4F46A81B742}" destId="{58FCE728-B58D-442F-9321-32D6A3068793}" srcOrd="3" destOrd="0" parTransId="{15EBE0F0-42BF-4D9E-A1C5-B0D7705640B6}" sibTransId="{B4D7B352-391C-43E1-881A-D20DD0289E2A}"/>
    <dgm:cxn modelId="{2507E182-AE82-47D2-8743-26EB8466CF03}" type="presOf" srcId="{8949F103-9D4F-4342-A323-A4F46A81B742}" destId="{8886361F-5D54-4ABE-A12A-28BD9BD37CF5}" srcOrd="0" destOrd="0" presId="urn:microsoft.com/office/officeart/2008/layout/LinedList"/>
    <dgm:cxn modelId="{B880F4AF-2934-4AA8-BDB2-114FEFD09BB4}" type="presOf" srcId="{51DAFAFA-0648-4152-B310-FD3CF925F7E6}" destId="{414949E1-7D38-403A-8835-7C53E7793D42}" srcOrd="0" destOrd="0" presId="urn:microsoft.com/office/officeart/2008/layout/LinedList"/>
    <dgm:cxn modelId="{027081A1-40EC-4169-9EA8-2A6BC28767C4}" srcId="{8949F103-9D4F-4342-A323-A4F46A81B742}" destId="{51DAFAFA-0648-4152-B310-FD3CF925F7E6}" srcOrd="0" destOrd="0" parTransId="{7D3784CD-3A7B-4D09-982F-FC116D0EA1DA}" sibTransId="{EB84AF6B-71E0-44E9-8160-1D0F6F56D8E8}"/>
    <dgm:cxn modelId="{72E0D65E-EF87-4F8D-B9CB-58AC0767BAA2}" type="presOf" srcId="{BCECA78E-DB7D-4874-A093-FECDA21654BF}" destId="{72F3A812-555A-4A0D-BF25-D30796407AE1}" srcOrd="0" destOrd="0" presId="urn:microsoft.com/office/officeart/2008/layout/LinedList"/>
    <dgm:cxn modelId="{EBFD08C2-BDC2-42E5-99EA-E4D148B6D256}" type="presOf" srcId="{58FCE728-B58D-442F-9321-32D6A3068793}" destId="{DC76AF78-CDA1-4C85-8E89-27BBEA04D9BF}" srcOrd="0" destOrd="0" presId="urn:microsoft.com/office/officeart/2008/layout/LinedList"/>
    <dgm:cxn modelId="{6466EC1D-4FC2-449B-BFFB-BA66ED4513CD}" type="presParOf" srcId="{8886361F-5D54-4ABE-A12A-28BD9BD37CF5}" destId="{54387168-8B6B-4664-BF89-5EE428543463}" srcOrd="0" destOrd="0" presId="urn:microsoft.com/office/officeart/2008/layout/LinedList"/>
    <dgm:cxn modelId="{BB943E38-E53D-42F1-B6F9-C3D1B7F00152}" type="presParOf" srcId="{8886361F-5D54-4ABE-A12A-28BD9BD37CF5}" destId="{CA208BB0-8369-46A0-8A19-49D0163DBF01}" srcOrd="1" destOrd="0" presId="urn:microsoft.com/office/officeart/2008/layout/LinedList"/>
    <dgm:cxn modelId="{B2898B57-10D5-4051-8B73-92024974BF29}" type="presParOf" srcId="{CA208BB0-8369-46A0-8A19-49D0163DBF01}" destId="{414949E1-7D38-403A-8835-7C53E7793D42}" srcOrd="0" destOrd="0" presId="urn:microsoft.com/office/officeart/2008/layout/LinedList"/>
    <dgm:cxn modelId="{A75BC95F-EE02-4491-9D4A-E3BFDB20F2DF}" type="presParOf" srcId="{CA208BB0-8369-46A0-8A19-49D0163DBF01}" destId="{69AE4113-91C2-4679-969D-425CD4A0B5EC}" srcOrd="1" destOrd="0" presId="urn:microsoft.com/office/officeart/2008/layout/LinedList"/>
    <dgm:cxn modelId="{DD3F55E1-E55B-4462-BF7E-D22E6948EDE7}" type="presParOf" srcId="{8886361F-5D54-4ABE-A12A-28BD9BD37CF5}" destId="{24A1C3D6-D2B5-45F6-B3EC-7E56178D9CE4}" srcOrd="2" destOrd="0" presId="urn:microsoft.com/office/officeart/2008/layout/LinedList"/>
    <dgm:cxn modelId="{3B9C6E6F-6B16-4CFE-A070-D43ED50B0B10}" type="presParOf" srcId="{8886361F-5D54-4ABE-A12A-28BD9BD37CF5}" destId="{F9A01873-7590-418B-BCF8-5016A8F09BC5}" srcOrd="3" destOrd="0" presId="urn:microsoft.com/office/officeart/2008/layout/LinedList"/>
    <dgm:cxn modelId="{532671CC-B6DC-4E93-8395-196FE14B5C8B}" type="presParOf" srcId="{F9A01873-7590-418B-BCF8-5016A8F09BC5}" destId="{72F3A812-555A-4A0D-BF25-D30796407AE1}" srcOrd="0" destOrd="0" presId="urn:microsoft.com/office/officeart/2008/layout/LinedList"/>
    <dgm:cxn modelId="{1E124334-5DFE-4260-9063-5397A10380D5}" type="presParOf" srcId="{F9A01873-7590-418B-BCF8-5016A8F09BC5}" destId="{2F114E3C-4C21-472E-9AEE-B0AB74FE3F49}" srcOrd="1" destOrd="0" presId="urn:microsoft.com/office/officeart/2008/layout/LinedList"/>
    <dgm:cxn modelId="{F32AC6DE-BA8B-40CA-9880-F0C89D8D723A}" type="presParOf" srcId="{8886361F-5D54-4ABE-A12A-28BD9BD37CF5}" destId="{D03A3065-6D20-44A8-9E29-E69371A98C73}" srcOrd="4" destOrd="0" presId="urn:microsoft.com/office/officeart/2008/layout/LinedList"/>
    <dgm:cxn modelId="{57A14B5E-EEB7-4A40-8741-33E305B4FC72}" type="presParOf" srcId="{8886361F-5D54-4ABE-A12A-28BD9BD37CF5}" destId="{060AB045-4A37-4154-BC45-476383E63518}" srcOrd="5" destOrd="0" presId="urn:microsoft.com/office/officeart/2008/layout/LinedList"/>
    <dgm:cxn modelId="{7C49F648-435C-4A03-8461-5D8B2AD9E488}" type="presParOf" srcId="{060AB045-4A37-4154-BC45-476383E63518}" destId="{0056E57C-52F8-4D93-AD1D-13C873035E08}" srcOrd="0" destOrd="0" presId="urn:microsoft.com/office/officeart/2008/layout/LinedList"/>
    <dgm:cxn modelId="{A778B23C-A3BC-440D-ABCE-729894138419}" type="presParOf" srcId="{060AB045-4A37-4154-BC45-476383E63518}" destId="{9235EF61-4040-4E8B-A410-E489AB00CE10}" srcOrd="1" destOrd="0" presId="urn:microsoft.com/office/officeart/2008/layout/LinedList"/>
    <dgm:cxn modelId="{A45819B4-14A9-48B2-ACD0-3817B4A29A85}" type="presParOf" srcId="{8886361F-5D54-4ABE-A12A-28BD9BD37CF5}" destId="{8DAE5AD9-B75E-4CAF-A02E-CA2C0BBE1ED5}" srcOrd="6" destOrd="0" presId="urn:microsoft.com/office/officeart/2008/layout/LinedList"/>
    <dgm:cxn modelId="{5EC8C848-7E05-48E2-B377-FF1759ABBA80}" type="presParOf" srcId="{8886361F-5D54-4ABE-A12A-28BD9BD37CF5}" destId="{66B39DA2-3625-4744-A64A-7C9E4F98F8A7}" srcOrd="7" destOrd="0" presId="urn:microsoft.com/office/officeart/2008/layout/LinedList"/>
    <dgm:cxn modelId="{FBE7602E-110C-4955-8D56-0CD1D2ECAF3F}" type="presParOf" srcId="{66B39DA2-3625-4744-A64A-7C9E4F98F8A7}" destId="{DC76AF78-CDA1-4C85-8E89-27BBEA04D9BF}" srcOrd="0" destOrd="0" presId="urn:microsoft.com/office/officeart/2008/layout/LinedList"/>
    <dgm:cxn modelId="{911C3916-4CE2-4DA8-8800-EC58E3E057CD}" type="presParOf" srcId="{66B39DA2-3625-4744-A64A-7C9E4F98F8A7}" destId="{9CEC7929-2207-46EE-A771-F3615C831C21}"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3C82FAD-C2E9-4B2D-B554-CCE4031856D5}" type="doc">
      <dgm:prSet loTypeId="urn:microsoft.com/office/officeart/2005/8/layout/architecture" loCatId="officeonline" qsTypeId="urn:microsoft.com/office/officeart/2005/8/quickstyle/simple1" qsCatId="simple" csTypeId="urn:microsoft.com/office/officeart/2005/8/colors/colorful2" csCatId="colorful" phldr="1"/>
      <dgm:spPr/>
      <dgm:t>
        <a:bodyPr/>
        <a:lstStyle/>
        <a:p>
          <a:endParaRPr lang="en-CA"/>
        </a:p>
      </dgm:t>
    </dgm:pt>
    <dgm:pt modelId="{93840ED2-742F-42AD-A609-B91C78C23F57}">
      <dgm:prSet/>
      <dgm:spPr/>
      <dgm:t>
        <a:bodyPr/>
        <a:lstStyle/>
        <a:p>
          <a:pPr rtl="0"/>
          <a:r>
            <a:rPr lang="en-CA" dirty="0" err="1" smtClean="0"/>
            <a:t>PaaS</a:t>
          </a:r>
          <a:endParaRPr lang="en-CA" dirty="0"/>
        </a:p>
      </dgm:t>
    </dgm:pt>
    <dgm:pt modelId="{D2E346D1-F74D-47B6-8553-1BEFD9F9A966}" type="parTrans" cxnId="{75D63A40-2022-4F6A-BCA6-7C3285FFCE11}">
      <dgm:prSet/>
      <dgm:spPr/>
      <dgm:t>
        <a:bodyPr/>
        <a:lstStyle/>
        <a:p>
          <a:endParaRPr lang="en-CA"/>
        </a:p>
      </dgm:t>
    </dgm:pt>
    <dgm:pt modelId="{99E58491-E187-43F7-8724-18A240BEFAE5}" type="sibTrans" cxnId="{75D63A40-2022-4F6A-BCA6-7C3285FFCE11}">
      <dgm:prSet/>
      <dgm:spPr/>
      <dgm:t>
        <a:bodyPr/>
        <a:lstStyle/>
        <a:p>
          <a:endParaRPr lang="en-CA"/>
        </a:p>
      </dgm:t>
    </dgm:pt>
    <dgm:pt modelId="{F64C284E-C80F-4FB7-932B-589178F1347B}">
      <dgm:prSet/>
      <dgm:spPr/>
      <dgm:t>
        <a:bodyPr/>
        <a:lstStyle/>
        <a:p>
          <a:pPr rtl="0"/>
          <a:r>
            <a:rPr lang="en-CA" dirty="0" smtClean="0"/>
            <a:t>IaaS</a:t>
          </a:r>
          <a:endParaRPr lang="en-CA" dirty="0"/>
        </a:p>
      </dgm:t>
    </dgm:pt>
    <dgm:pt modelId="{894C5BDE-DB79-496E-9D02-EEFAE72B8C89}" type="parTrans" cxnId="{D3357EFD-F4D9-4D1C-BCEC-1B9D044892BF}">
      <dgm:prSet/>
      <dgm:spPr/>
      <dgm:t>
        <a:bodyPr/>
        <a:lstStyle/>
        <a:p>
          <a:endParaRPr lang="en-CA"/>
        </a:p>
      </dgm:t>
    </dgm:pt>
    <dgm:pt modelId="{163CC1E8-6300-4D68-BF6D-C378D77C13A2}" type="sibTrans" cxnId="{D3357EFD-F4D9-4D1C-BCEC-1B9D044892BF}">
      <dgm:prSet/>
      <dgm:spPr/>
      <dgm:t>
        <a:bodyPr/>
        <a:lstStyle/>
        <a:p>
          <a:endParaRPr lang="en-CA"/>
        </a:p>
      </dgm:t>
    </dgm:pt>
    <dgm:pt modelId="{8FBC9C78-9637-49C3-B4E3-7D9203AF78A9}">
      <dgm:prSet/>
      <dgm:spPr/>
      <dgm:t>
        <a:bodyPr/>
        <a:lstStyle/>
        <a:p>
          <a:pPr rtl="0"/>
          <a:r>
            <a:rPr lang="en-CA" dirty="0" smtClean="0"/>
            <a:t>SaaS</a:t>
          </a:r>
          <a:endParaRPr lang="en-CA" dirty="0"/>
        </a:p>
      </dgm:t>
    </dgm:pt>
    <dgm:pt modelId="{8C7FAA8B-2CF7-44FE-B12B-A11B9C0092E8}" type="parTrans" cxnId="{CE07DD72-6B74-482D-A96E-B8C0D2DD7091}">
      <dgm:prSet/>
      <dgm:spPr/>
      <dgm:t>
        <a:bodyPr/>
        <a:lstStyle/>
        <a:p>
          <a:endParaRPr lang="en-CA"/>
        </a:p>
      </dgm:t>
    </dgm:pt>
    <dgm:pt modelId="{43B3D2BB-2EDC-4F3E-81DE-317F13E75A3B}" type="sibTrans" cxnId="{CE07DD72-6B74-482D-A96E-B8C0D2DD7091}">
      <dgm:prSet/>
      <dgm:spPr/>
      <dgm:t>
        <a:bodyPr/>
        <a:lstStyle/>
        <a:p>
          <a:endParaRPr lang="en-CA"/>
        </a:p>
      </dgm:t>
    </dgm:pt>
    <dgm:pt modelId="{92990536-6D08-4767-90B1-7A95D6A7AF72}">
      <dgm:prSet/>
      <dgm:spPr/>
      <dgm:t>
        <a:bodyPr/>
        <a:lstStyle/>
        <a:p>
          <a:pPr rtl="0"/>
          <a:r>
            <a:rPr lang="en-CA" dirty="0" smtClean="0"/>
            <a:t>Platform</a:t>
          </a:r>
          <a:endParaRPr lang="en-CA" dirty="0"/>
        </a:p>
      </dgm:t>
    </dgm:pt>
    <dgm:pt modelId="{4BAA5912-5B66-4065-B068-1D3AA1CFAEDB}" type="parTrans" cxnId="{C52B2730-3B90-4C3A-9731-F3B00A728456}">
      <dgm:prSet/>
      <dgm:spPr/>
      <dgm:t>
        <a:bodyPr/>
        <a:lstStyle/>
        <a:p>
          <a:endParaRPr lang="en-CA"/>
        </a:p>
      </dgm:t>
    </dgm:pt>
    <dgm:pt modelId="{277A3160-D0A3-49EC-B1F5-709749D7EC10}" type="sibTrans" cxnId="{C52B2730-3B90-4C3A-9731-F3B00A728456}">
      <dgm:prSet/>
      <dgm:spPr/>
      <dgm:t>
        <a:bodyPr/>
        <a:lstStyle/>
        <a:p>
          <a:endParaRPr lang="en-CA"/>
        </a:p>
      </dgm:t>
    </dgm:pt>
    <dgm:pt modelId="{BA350A8D-F576-4164-975F-FF0D8F3F09BD}">
      <dgm:prSet/>
      <dgm:spPr/>
      <dgm:t>
        <a:bodyPr/>
        <a:lstStyle/>
        <a:p>
          <a:pPr rtl="0"/>
          <a:r>
            <a:rPr lang="en-CA" dirty="0" smtClean="0"/>
            <a:t>Infrastructure</a:t>
          </a:r>
          <a:endParaRPr lang="en-CA" dirty="0"/>
        </a:p>
      </dgm:t>
    </dgm:pt>
    <dgm:pt modelId="{5BA398F5-E9EA-4F59-9625-9020DBF22EB5}" type="parTrans" cxnId="{45781E2E-1FD6-4C21-A71F-5D228FC0EA67}">
      <dgm:prSet/>
      <dgm:spPr/>
      <dgm:t>
        <a:bodyPr/>
        <a:lstStyle/>
        <a:p>
          <a:endParaRPr lang="en-CA"/>
        </a:p>
      </dgm:t>
    </dgm:pt>
    <dgm:pt modelId="{331B4447-61AB-4852-9980-47640334E97B}" type="sibTrans" cxnId="{45781E2E-1FD6-4C21-A71F-5D228FC0EA67}">
      <dgm:prSet/>
      <dgm:spPr/>
      <dgm:t>
        <a:bodyPr/>
        <a:lstStyle/>
        <a:p>
          <a:endParaRPr lang="en-CA"/>
        </a:p>
      </dgm:t>
    </dgm:pt>
    <dgm:pt modelId="{20E05159-5FE9-410E-A294-7C3868F61580}">
      <dgm:prSet/>
      <dgm:spPr/>
      <dgm:t>
        <a:bodyPr/>
        <a:lstStyle/>
        <a:p>
          <a:pPr rtl="0"/>
          <a:r>
            <a:rPr lang="en-CA" dirty="0" smtClean="0"/>
            <a:t>Service</a:t>
          </a:r>
          <a:endParaRPr lang="en-CA" dirty="0"/>
        </a:p>
      </dgm:t>
    </dgm:pt>
    <dgm:pt modelId="{14F19E98-A04C-48A4-9EBF-0A4A99720B86}" type="parTrans" cxnId="{3493E675-8F3A-4AA0-BC4D-015DE597F8D5}">
      <dgm:prSet/>
      <dgm:spPr/>
      <dgm:t>
        <a:bodyPr/>
        <a:lstStyle/>
        <a:p>
          <a:endParaRPr lang="en-CA"/>
        </a:p>
      </dgm:t>
    </dgm:pt>
    <dgm:pt modelId="{EA9B2FA0-DD48-4F2C-BF83-752D1797D4E3}" type="sibTrans" cxnId="{3493E675-8F3A-4AA0-BC4D-015DE597F8D5}">
      <dgm:prSet/>
      <dgm:spPr/>
      <dgm:t>
        <a:bodyPr/>
        <a:lstStyle/>
        <a:p>
          <a:endParaRPr lang="en-CA"/>
        </a:p>
      </dgm:t>
    </dgm:pt>
    <dgm:pt modelId="{9E9117DC-3AD2-4FE0-994A-93B02E24FDF3}" type="pres">
      <dgm:prSet presAssocID="{13C82FAD-C2E9-4B2D-B554-CCE4031856D5}" presName="Name0" presStyleCnt="0">
        <dgm:presLayoutVars>
          <dgm:chPref val="1"/>
          <dgm:dir/>
          <dgm:animOne val="branch"/>
          <dgm:animLvl val="lvl"/>
          <dgm:resizeHandles/>
        </dgm:presLayoutVars>
      </dgm:prSet>
      <dgm:spPr/>
      <dgm:t>
        <a:bodyPr/>
        <a:lstStyle/>
        <a:p>
          <a:endParaRPr lang="en-US"/>
        </a:p>
      </dgm:t>
    </dgm:pt>
    <dgm:pt modelId="{F6F538C4-298F-4AB3-ABAD-094D1BC54756}" type="pres">
      <dgm:prSet presAssocID="{93840ED2-742F-42AD-A609-B91C78C23F57}" presName="vertOne" presStyleCnt="0"/>
      <dgm:spPr/>
    </dgm:pt>
    <dgm:pt modelId="{ACD0B7AC-2712-48F0-9673-E12A850A0E42}" type="pres">
      <dgm:prSet presAssocID="{93840ED2-742F-42AD-A609-B91C78C23F57}" presName="txOne" presStyleLbl="node0" presStyleIdx="0" presStyleCnt="3">
        <dgm:presLayoutVars>
          <dgm:chPref val="3"/>
        </dgm:presLayoutVars>
      </dgm:prSet>
      <dgm:spPr/>
      <dgm:t>
        <a:bodyPr/>
        <a:lstStyle/>
        <a:p>
          <a:endParaRPr lang="en-US"/>
        </a:p>
      </dgm:t>
    </dgm:pt>
    <dgm:pt modelId="{A1FC5FDD-DF36-483D-AE8F-A64FD7CD09F5}" type="pres">
      <dgm:prSet presAssocID="{93840ED2-742F-42AD-A609-B91C78C23F57}" presName="parTransOne" presStyleCnt="0"/>
      <dgm:spPr/>
    </dgm:pt>
    <dgm:pt modelId="{B5420D13-B807-4EFA-944E-51CE3108DA11}" type="pres">
      <dgm:prSet presAssocID="{93840ED2-742F-42AD-A609-B91C78C23F57}" presName="horzOne" presStyleCnt="0"/>
      <dgm:spPr/>
    </dgm:pt>
    <dgm:pt modelId="{DAC5E926-ABCD-4724-8444-6B4BB1D34AF5}" type="pres">
      <dgm:prSet presAssocID="{92990536-6D08-4767-90B1-7A95D6A7AF72}" presName="vertTwo" presStyleCnt="0"/>
      <dgm:spPr/>
    </dgm:pt>
    <dgm:pt modelId="{26F0D24A-5698-4B56-A194-19D704BDBF94}" type="pres">
      <dgm:prSet presAssocID="{92990536-6D08-4767-90B1-7A95D6A7AF72}" presName="txTwo" presStyleLbl="node2" presStyleIdx="0" presStyleCnt="3">
        <dgm:presLayoutVars>
          <dgm:chPref val="3"/>
        </dgm:presLayoutVars>
      </dgm:prSet>
      <dgm:spPr/>
      <dgm:t>
        <a:bodyPr/>
        <a:lstStyle/>
        <a:p>
          <a:endParaRPr lang="en-US"/>
        </a:p>
      </dgm:t>
    </dgm:pt>
    <dgm:pt modelId="{FB861121-6D5C-4FF0-A5AC-38BB5522B414}" type="pres">
      <dgm:prSet presAssocID="{92990536-6D08-4767-90B1-7A95D6A7AF72}" presName="horzTwo" presStyleCnt="0"/>
      <dgm:spPr/>
    </dgm:pt>
    <dgm:pt modelId="{1698C8FC-28FF-4BFE-B63A-7FDE7397BF1F}" type="pres">
      <dgm:prSet presAssocID="{99E58491-E187-43F7-8724-18A240BEFAE5}" presName="sibSpaceOne" presStyleCnt="0"/>
      <dgm:spPr/>
    </dgm:pt>
    <dgm:pt modelId="{AE380E56-2573-4646-B5A9-F65591BDAC17}" type="pres">
      <dgm:prSet presAssocID="{F64C284E-C80F-4FB7-932B-589178F1347B}" presName="vertOne" presStyleCnt="0"/>
      <dgm:spPr/>
    </dgm:pt>
    <dgm:pt modelId="{9139F2FB-099D-4E64-BC44-D8C182F76B87}" type="pres">
      <dgm:prSet presAssocID="{F64C284E-C80F-4FB7-932B-589178F1347B}" presName="txOne" presStyleLbl="node0" presStyleIdx="1" presStyleCnt="3">
        <dgm:presLayoutVars>
          <dgm:chPref val="3"/>
        </dgm:presLayoutVars>
      </dgm:prSet>
      <dgm:spPr/>
      <dgm:t>
        <a:bodyPr/>
        <a:lstStyle/>
        <a:p>
          <a:endParaRPr lang="en-US"/>
        </a:p>
      </dgm:t>
    </dgm:pt>
    <dgm:pt modelId="{9A39D165-A68E-448D-9012-8962E04F6336}" type="pres">
      <dgm:prSet presAssocID="{F64C284E-C80F-4FB7-932B-589178F1347B}" presName="parTransOne" presStyleCnt="0"/>
      <dgm:spPr/>
    </dgm:pt>
    <dgm:pt modelId="{FCD6485A-8C08-402C-951B-EF19461176CE}" type="pres">
      <dgm:prSet presAssocID="{F64C284E-C80F-4FB7-932B-589178F1347B}" presName="horzOne" presStyleCnt="0"/>
      <dgm:spPr/>
    </dgm:pt>
    <dgm:pt modelId="{732A8285-A12A-4572-9476-F6829CEB6FBF}" type="pres">
      <dgm:prSet presAssocID="{BA350A8D-F576-4164-975F-FF0D8F3F09BD}" presName="vertTwo" presStyleCnt="0"/>
      <dgm:spPr/>
    </dgm:pt>
    <dgm:pt modelId="{8E128F1D-1FEB-4E44-8570-558D2157C3D2}" type="pres">
      <dgm:prSet presAssocID="{BA350A8D-F576-4164-975F-FF0D8F3F09BD}" presName="txTwo" presStyleLbl="node2" presStyleIdx="1" presStyleCnt="3">
        <dgm:presLayoutVars>
          <dgm:chPref val="3"/>
        </dgm:presLayoutVars>
      </dgm:prSet>
      <dgm:spPr/>
      <dgm:t>
        <a:bodyPr/>
        <a:lstStyle/>
        <a:p>
          <a:endParaRPr lang="en-US"/>
        </a:p>
      </dgm:t>
    </dgm:pt>
    <dgm:pt modelId="{D7AFEC8A-8404-41AB-805E-38A91D375FD1}" type="pres">
      <dgm:prSet presAssocID="{BA350A8D-F576-4164-975F-FF0D8F3F09BD}" presName="horzTwo" presStyleCnt="0"/>
      <dgm:spPr/>
    </dgm:pt>
    <dgm:pt modelId="{9FD5777C-7B99-4BC7-A1D6-458133A4408F}" type="pres">
      <dgm:prSet presAssocID="{163CC1E8-6300-4D68-BF6D-C378D77C13A2}" presName="sibSpaceOne" presStyleCnt="0"/>
      <dgm:spPr/>
    </dgm:pt>
    <dgm:pt modelId="{A1462CEE-5DAA-4A5A-A6EF-22DB9006824E}" type="pres">
      <dgm:prSet presAssocID="{8FBC9C78-9637-49C3-B4E3-7D9203AF78A9}" presName="vertOne" presStyleCnt="0"/>
      <dgm:spPr/>
    </dgm:pt>
    <dgm:pt modelId="{67DA6D24-C586-42C6-9CF1-BECE2497783D}" type="pres">
      <dgm:prSet presAssocID="{8FBC9C78-9637-49C3-B4E3-7D9203AF78A9}" presName="txOne" presStyleLbl="node0" presStyleIdx="2" presStyleCnt="3">
        <dgm:presLayoutVars>
          <dgm:chPref val="3"/>
        </dgm:presLayoutVars>
      </dgm:prSet>
      <dgm:spPr/>
      <dgm:t>
        <a:bodyPr/>
        <a:lstStyle/>
        <a:p>
          <a:endParaRPr lang="en-US"/>
        </a:p>
      </dgm:t>
    </dgm:pt>
    <dgm:pt modelId="{6C1B961A-F259-43C2-99F0-595433966052}" type="pres">
      <dgm:prSet presAssocID="{8FBC9C78-9637-49C3-B4E3-7D9203AF78A9}" presName="parTransOne" presStyleCnt="0"/>
      <dgm:spPr/>
    </dgm:pt>
    <dgm:pt modelId="{09103E5D-0D44-4908-8C47-1102A1FA4A30}" type="pres">
      <dgm:prSet presAssocID="{8FBC9C78-9637-49C3-B4E3-7D9203AF78A9}" presName="horzOne" presStyleCnt="0"/>
      <dgm:spPr/>
    </dgm:pt>
    <dgm:pt modelId="{D21F202B-C7F8-4D81-8F91-6667E11FE059}" type="pres">
      <dgm:prSet presAssocID="{20E05159-5FE9-410E-A294-7C3868F61580}" presName="vertTwo" presStyleCnt="0"/>
      <dgm:spPr/>
    </dgm:pt>
    <dgm:pt modelId="{35D9CB08-65FA-42C8-97B2-6DA49B4CA8F9}" type="pres">
      <dgm:prSet presAssocID="{20E05159-5FE9-410E-A294-7C3868F61580}" presName="txTwo" presStyleLbl="node2" presStyleIdx="2" presStyleCnt="3">
        <dgm:presLayoutVars>
          <dgm:chPref val="3"/>
        </dgm:presLayoutVars>
      </dgm:prSet>
      <dgm:spPr/>
      <dgm:t>
        <a:bodyPr/>
        <a:lstStyle/>
        <a:p>
          <a:endParaRPr lang="en-US"/>
        </a:p>
      </dgm:t>
    </dgm:pt>
    <dgm:pt modelId="{5F276EC7-E89F-49BD-B8EB-7F7DA042A499}" type="pres">
      <dgm:prSet presAssocID="{20E05159-5FE9-410E-A294-7C3868F61580}" presName="horzTwo" presStyleCnt="0"/>
      <dgm:spPr/>
    </dgm:pt>
  </dgm:ptLst>
  <dgm:cxnLst>
    <dgm:cxn modelId="{45781E2E-1FD6-4C21-A71F-5D228FC0EA67}" srcId="{F64C284E-C80F-4FB7-932B-589178F1347B}" destId="{BA350A8D-F576-4164-975F-FF0D8F3F09BD}" srcOrd="0" destOrd="0" parTransId="{5BA398F5-E9EA-4F59-9625-9020DBF22EB5}" sibTransId="{331B4447-61AB-4852-9980-47640334E97B}"/>
    <dgm:cxn modelId="{3493E675-8F3A-4AA0-BC4D-015DE597F8D5}" srcId="{8FBC9C78-9637-49C3-B4E3-7D9203AF78A9}" destId="{20E05159-5FE9-410E-A294-7C3868F61580}" srcOrd="0" destOrd="0" parTransId="{14F19E98-A04C-48A4-9EBF-0A4A99720B86}" sibTransId="{EA9B2FA0-DD48-4F2C-BF83-752D1797D4E3}"/>
    <dgm:cxn modelId="{E350DC30-4C73-48BD-A2F6-A0A8C8141AFB}" type="presOf" srcId="{20E05159-5FE9-410E-A294-7C3868F61580}" destId="{35D9CB08-65FA-42C8-97B2-6DA49B4CA8F9}" srcOrd="0" destOrd="0" presId="urn:microsoft.com/office/officeart/2005/8/layout/architecture"/>
    <dgm:cxn modelId="{FA77C097-5DC9-44B5-87C5-D4FC6B94FC1C}" type="presOf" srcId="{92990536-6D08-4767-90B1-7A95D6A7AF72}" destId="{26F0D24A-5698-4B56-A194-19D704BDBF94}" srcOrd="0" destOrd="0" presId="urn:microsoft.com/office/officeart/2005/8/layout/architecture"/>
    <dgm:cxn modelId="{753E69B3-8FAA-4A27-918B-A5DFA08465E2}" type="presOf" srcId="{8FBC9C78-9637-49C3-B4E3-7D9203AF78A9}" destId="{67DA6D24-C586-42C6-9CF1-BECE2497783D}" srcOrd="0" destOrd="0" presId="urn:microsoft.com/office/officeart/2005/8/layout/architecture"/>
    <dgm:cxn modelId="{89157BCA-6616-4EC0-8F95-D901592C7F06}" type="presOf" srcId="{F64C284E-C80F-4FB7-932B-589178F1347B}" destId="{9139F2FB-099D-4E64-BC44-D8C182F76B87}" srcOrd="0" destOrd="0" presId="urn:microsoft.com/office/officeart/2005/8/layout/architecture"/>
    <dgm:cxn modelId="{C52B2730-3B90-4C3A-9731-F3B00A728456}" srcId="{93840ED2-742F-42AD-A609-B91C78C23F57}" destId="{92990536-6D08-4767-90B1-7A95D6A7AF72}" srcOrd="0" destOrd="0" parTransId="{4BAA5912-5B66-4065-B068-1D3AA1CFAEDB}" sibTransId="{277A3160-D0A3-49EC-B1F5-709749D7EC10}"/>
    <dgm:cxn modelId="{D3357EFD-F4D9-4D1C-BCEC-1B9D044892BF}" srcId="{13C82FAD-C2E9-4B2D-B554-CCE4031856D5}" destId="{F64C284E-C80F-4FB7-932B-589178F1347B}" srcOrd="1" destOrd="0" parTransId="{894C5BDE-DB79-496E-9D02-EEFAE72B8C89}" sibTransId="{163CC1E8-6300-4D68-BF6D-C378D77C13A2}"/>
    <dgm:cxn modelId="{CE07DD72-6B74-482D-A96E-B8C0D2DD7091}" srcId="{13C82FAD-C2E9-4B2D-B554-CCE4031856D5}" destId="{8FBC9C78-9637-49C3-B4E3-7D9203AF78A9}" srcOrd="2" destOrd="0" parTransId="{8C7FAA8B-2CF7-44FE-B12B-A11B9C0092E8}" sibTransId="{43B3D2BB-2EDC-4F3E-81DE-317F13E75A3B}"/>
    <dgm:cxn modelId="{E4D0D19A-58B3-4453-884B-4FE0995CFD21}" type="presOf" srcId="{93840ED2-742F-42AD-A609-B91C78C23F57}" destId="{ACD0B7AC-2712-48F0-9673-E12A850A0E42}" srcOrd="0" destOrd="0" presId="urn:microsoft.com/office/officeart/2005/8/layout/architecture"/>
    <dgm:cxn modelId="{ACAF2867-52C5-4F22-A0C2-7905B73CEF22}" type="presOf" srcId="{13C82FAD-C2E9-4B2D-B554-CCE4031856D5}" destId="{9E9117DC-3AD2-4FE0-994A-93B02E24FDF3}" srcOrd="0" destOrd="0" presId="urn:microsoft.com/office/officeart/2005/8/layout/architecture"/>
    <dgm:cxn modelId="{7AE46FC0-2F93-4BF1-8E92-BEE57C84A6E4}" type="presOf" srcId="{BA350A8D-F576-4164-975F-FF0D8F3F09BD}" destId="{8E128F1D-1FEB-4E44-8570-558D2157C3D2}" srcOrd="0" destOrd="0" presId="urn:microsoft.com/office/officeart/2005/8/layout/architecture"/>
    <dgm:cxn modelId="{75D63A40-2022-4F6A-BCA6-7C3285FFCE11}" srcId="{13C82FAD-C2E9-4B2D-B554-CCE4031856D5}" destId="{93840ED2-742F-42AD-A609-B91C78C23F57}" srcOrd="0" destOrd="0" parTransId="{D2E346D1-F74D-47B6-8553-1BEFD9F9A966}" sibTransId="{99E58491-E187-43F7-8724-18A240BEFAE5}"/>
    <dgm:cxn modelId="{785106CD-AC10-4393-9FA7-C834EEA8E285}" type="presParOf" srcId="{9E9117DC-3AD2-4FE0-994A-93B02E24FDF3}" destId="{F6F538C4-298F-4AB3-ABAD-094D1BC54756}" srcOrd="0" destOrd="0" presId="urn:microsoft.com/office/officeart/2005/8/layout/architecture"/>
    <dgm:cxn modelId="{B957381B-C17B-4E71-B81E-7B4C07326875}" type="presParOf" srcId="{F6F538C4-298F-4AB3-ABAD-094D1BC54756}" destId="{ACD0B7AC-2712-48F0-9673-E12A850A0E42}" srcOrd="0" destOrd="0" presId="urn:microsoft.com/office/officeart/2005/8/layout/architecture"/>
    <dgm:cxn modelId="{D5B489CF-EA23-42B9-8160-D6D809CF91AD}" type="presParOf" srcId="{F6F538C4-298F-4AB3-ABAD-094D1BC54756}" destId="{A1FC5FDD-DF36-483D-AE8F-A64FD7CD09F5}" srcOrd="1" destOrd="0" presId="urn:microsoft.com/office/officeart/2005/8/layout/architecture"/>
    <dgm:cxn modelId="{177BEE49-9E41-42D6-A935-5E572C6BECC8}" type="presParOf" srcId="{F6F538C4-298F-4AB3-ABAD-094D1BC54756}" destId="{B5420D13-B807-4EFA-944E-51CE3108DA11}" srcOrd="2" destOrd="0" presId="urn:microsoft.com/office/officeart/2005/8/layout/architecture"/>
    <dgm:cxn modelId="{2E000245-914B-4E10-8931-8B64DA571D3F}" type="presParOf" srcId="{B5420D13-B807-4EFA-944E-51CE3108DA11}" destId="{DAC5E926-ABCD-4724-8444-6B4BB1D34AF5}" srcOrd="0" destOrd="0" presId="urn:microsoft.com/office/officeart/2005/8/layout/architecture"/>
    <dgm:cxn modelId="{4B3B46EC-C225-4905-9025-785E3ACF7D45}" type="presParOf" srcId="{DAC5E926-ABCD-4724-8444-6B4BB1D34AF5}" destId="{26F0D24A-5698-4B56-A194-19D704BDBF94}" srcOrd="0" destOrd="0" presId="urn:microsoft.com/office/officeart/2005/8/layout/architecture"/>
    <dgm:cxn modelId="{6FF63245-8FCA-48A9-A717-84F2DA38659F}" type="presParOf" srcId="{DAC5E926-ABCD-4724-8444-6B4BB1D34AF5}" destId="{FB861121-6D5C-4FF0-A5AC-38BB5522B414}" srcOrd="1" destOrd="0" presId="urn:microsoft.com/office/officeart/2005/8/layout/architecture"/>
    <dgm:cxn modelId="{897EF7CC-C104-49B5-9CFE-0559E31A2467}" type="presParOf" srcId="{9E9117DC-3AD2-4FE0-994A-93B02E24FDF3}" destId="{1698C8FC-28FF-4BFE-B63A-7FDE7397BF1F}" srcOrd="1" destOrd="0" presId="urn:microsoft.com/office/officeart/2005/8/layout/architecture"/>
    <dgm:cxn modelId="{63286B34-30D8-4BFE-BEE3-0F0ABAD45B76}" type="presParOf" srcId="{9E9117DC-3AD2-4FE0-994A-93B02E24FDF3}" destId="{AE380E56-2573-4646-B5A9-F65591BDAC17}" srcOrd="2" destOrd="0" presId="urn:microsoft.com/office/officeart/2005/8/layout/architecture"/>
    <dgm:cxn modelId="{2E905F41-57B9-4F64-8F71-651527CEFC60}" type="presParOf" srcId="{AE380E56-2573-4646-B5A9-F65591BDAC17}" destId="{9139F2FB-099D-4E64-BC44-D8C182F76B87}" srcOrd="0" destOrd="0" presId="urn:microsoft.com/office/officeart/2005/8/layout/architecture"/>
    <dgm:cxn modelId="{92F91CA0-8067-4D61-A5D6-FDEF8E7C4673}" type="presParOf" srcId="{AE380E56-2573-4646-B5A9-F65591BDAC17}" destId="{9A39D165-A68E-448D-9012-8962E04F6336}" srcOrd="1" destOrd="0" presId="urn:microsoft.com/office/officeart/2005/8/layout/architecture"/>
    <dgm:cxn modelId="{38AEEC8D-C0A9-4111-B709-AC3387355329}" type="presParOf" srcId="{AE380E56-2573-4646-B5A9-F65591BDAC17}" destId="{FCD6485A-8C08-402C-951B-EF19461176CE}" srcOrd="2" destOrd="0" presId="urn:microsoft.com/office/officeart/2005/8/layout/architecture"/>
    <dgm:cxn modelId="{C149B9EC-88B9-41DC-A040-547CE5237477}" type="presParOf" srcId="{FCD6485A-8C08-402C-951B-EF19461176CE}" destId="{732A8285-A12A-4572-9476-F6829CEB6FBF}" srcOrd="0" destOrd="0" presId="urn:microsoft.com/office/officeart/2005/8/layout/architecture"/>
    <dgm:cxn modelId="{079E503D-3E69-4742-A29E-0F343734195E}" type="presParOf" srcId="{732A8285-A12A-4572-9476-F6829CEB6FBF}" destId="{8E128F1D-1FEB-4E44-8570-558D2157C3D2}" srcOrd="0" destOrd="0" presId="urn:microsoft.com/office/officeart/2005/8/layout/architecture"/>
    <dgm:cxn modelId="{6248E6BF-90A6-4A1E-A422-65FBA3FFBE6B}" type="presParOf" srcId="{732A8285-A12A-4572-9476-F6829CEB6FBF}" destId="{D7AFEC8A-8404-41AB-805E-38A91D375FD1}" srcOrd="1" destOrd="0" presId="urn:microsoft.com/office/officeart/2005/8/layout/architecture"/>
    <dgm:cxn modelId="{82FFA57A-34FC-428D-89B6-549335012E65}" type="presParOf" srcId="{9E9117DC-3AD2-4FE0-994A-93B02E24FDF3}" destId="{9FD5777C-7B99-4BC7-A1D6-458133A4408F}" srcOrd="3" destOrd="0" presId="urn:microsoft.com/office/officeart/2005/8/layout/architecture"/>
    <dgm:cxn modelId="{F67C8604-25BE-4960-844F-A81E3A27D192}" type="presParOf" srcId="{9E9117DC-3AD2-4FE0-994A-93B02E24FDF3}" destId="{A1462CEE-5DAA-4A5A-A6EF-22DB9006824E}" srcOrd="4" destOrd="0" presId="urn:microsoft.com/office/officeart/2005/8/layout/architecture"/>
    <dgm:cxn modelId="{D249311C-8787-4F4B-8B23-14C8F6EFD0BA}" type="presParOf" srcId="{A1462CEE-5DAA-4A5A-A6EF-22DB9006824E}" destId="{67DA6D24-C586-42C6-9CF1-BECE2497783D}" srcOrd="0" destOrd="0" presId="urn:microsoft.com/office/officeart/2005/8/layout/architecture"/>
    <dgm:cxn modelId="{AA56A5A5-7D5A-4045-B9A4-00CA77163C4B}" type="presParOf" srcId="{A1462CEE-5DAA-4A5A-A6EF-22DB9006824E}" destId="{6C1B961A-F259-43C2-99F0-595433966052}" srcOrd="1" destOrd="0" presId="urn:microsoft.com/office/officeart/2005/8/layout/architecture"/>
    <dgm:cxn modelId="{B4E91657-0876-4809-88EB-C1961D21A141}" type="presParOf" srcId="{A1462CEE-5DAA-4A5A-A6EF-22DB9006824E}" destId="{09103E5D-0D44-4908-8C47-1102A1FA4A30}" srcOrd="2" destOrd="0" presId="urn:microsoft.com/office/officeart/2005/8/layout/architecture"/>
    <dgm:cxn modelId="{D3D4DE91-66C5-4C3A-B137-6E740BBD190A}" type="presParOf" srcId="{09103E5D-0D44-4908-8C47-1102A1FA4A30}" destId="{D21F202B-C7F8-4D81-8F91-6667E11FE059}" srcOrd="0" destOrd="0" presId="urn:microsoft.com/office/officeart/2005/8/layout/architecture"/>
    <dgm:cxn modelId="{881CB30C-4B9F-43B1-970F-7B870048036A}" type="presParOf" srcId="{D21F202B-C7F8-4D81-8F91-6667E11FE059}" destId="{35D9CB08-65FA-42C8-97B2-6DA49B4CA8F9}" srcOrd="0" destOrd="0" presId="urn:microsoft.com/office/officeart/2005/8/layout/architecture"/>
    <dgm:cxn modelId="{B61DC9BD-0B4F-47A2-9759-8945EE97F137}" type="presParOf" srcId="{D21F202B-C7F8-4D81-8F91-6667E11FE059}" destId="{5F276EC7-E89F-49BD-B8EB-7F7DA042A499}" srcOrd="1" destOrd="0" presId="urn:microsoft.com/office/officeart/2005/8/layout/archite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9F223-0023-4DFC-8AD6-DA314A72AF34}">
      <dsp:nvSpPr>
        <dsp:cNvPr id="0" name=""/>
        <dsp:cNvSpPr/>
      </dsp:nvSpPr>
      <dsp:spPr>
        <a:xfrm>
          <a:off x="0" y="977007"/>
          <a:ext cx="2644796" cy="1220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808" tIns="86360" rIns="241808" bIns="86360" numCol="1" spcCol="1270" anchor="ctr" anchorCtr="0">
          <a:noAutofit/>
        </a:bodyPr>
        <a:lstStyle/>
        <a:p>
          <a:pPr lvl="0" algn="r" defTabSz="1511300" rtl="0">
            <a:lnSpc>
              <a:spcPct val="90000"/>
            </a:lnSpc>
            <a:spcBef>
              <a:spcPct val="0"/>
            </a:spcBef>
            <a:spcAft>
              <a:spcPct val="35000"/>
            </a:spcAft>
          </a:pPr>
          <a:r>
            <a:rPr lang="en-US" sz="3400" kern="1200" dirty="0" smtClean="0"/>
            <a:t>Polyglot persistence</a:t>
          </a:r>
          <a:endParaRPr lang="en-CA" sz="3400" kern="1200" dirty="0"/>
        </a:p>
      </dsp:txBody>
      <dsp:txXfrm>
        <a:off x="0" y="977007"/>
        <a:ext cx="2644796" cy="1220175"/>
      </dsp:txXfrm>
    </dsp:sp>
    <dsp:sp modelId="{57F01BBC-1D35-4B7E-9E6F-60A0C2507A0A}">
      <dsp:nvSpPr>
        <dsp:cNvPr id="0" name=""/>
        <dsp:cNvSpPr/>
      </dsp:nvSpPr>
      <dsp:spPr>
        <a:xfrm>
          <a:off x="2644796" y="881680"/>
          <a:ext cx="528959" cy="1410827"/>
        </a:xfrm>
        <a:prstGeom prst="leftBrace">
          <a:avLst>
            <a:gd name="adj1" fmla="val 35000"/>
            <a:gd name="adj2" fmla="val 50000"/>
          </a:avLst>
        </a:prstGeom>
        <a:noFill/>
        <a:ln w="9525" cap="flat" cmpd="sng" algn="ctr">
          <a:solidFill>
            <a:schemeClr val="accent4">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8DDA883-2861-4183-99E5-9A1CE17B2351}">
      <dsp:nvSpPr>
        <dsp:cNvPr id="0" name=""/>
        <dsp:cNvSpPr/>
      </dsp:nvSpPr>
      <dsp:spPr>
        <a:xfrm>
          <a:off x="3385339" y="881680"/>
          <a:ext cx="7193845" cy="1410827"/>
        </a:xfrm>
        <a:prstGeom prst="rect">
          <a:avLst/>
        </a:prstGeom>
        <a:solidFill>
          <a:schemeClr val="accent4">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129540" rIns="129540" bIns="129540" numCol="1" spcCol="1270" anchor="ctr" anchorCtr="0">
          <a:noAutofit/>
        </a:bodyPr>
        <a:lstStyle/>
        <a:p>
          <a:pPr marL="285750" lvl="1" indent="-285750" algn="l" defTabSz="1511300" rtl="0">
            <a:lnSpc>
              <a:spcPct val="90000"/>
            </a:lnSpc>
            <a:spcBef>
              <a:spcPct val="0"/>
            </a:spcBef>
            <a:spcAft>
              <a:spcPct val="15000"/>
            </a:spcAft>
            <a:buChar char="••"/>
          </a:pPr>
          <a:r>
            <a:rPr lang="en-CA" sz="3400" kern="1200" dirty="0" smtClean="0"/>
            <a:t>Optimized for data</a:t>
          </a:r>
          <a:endParaRPr lang="en-CA" sz="3400" kern="1200" dirty="0"/>
        </a:p>
        <a:p>
          <a:pPr marL="285750" lvl="1" indent="-285750" algn="l" defTabSz="1511300" rtl="0">
            <a:lnSpc>
              <a:spcPct val="90000"/>
            </a:lnSpc>
            <a:spcBef>
              <a:spcPct val="0"/>
            </a:spcBef>
            <a:spcAft>
              <a:spcPct val="15000"/>
            </a:spcAft>
            <a:buChar char="••"/>
          </a:pPr>
          <a:r>
            <a:rPr lang="en-CA" sz="3400" kern="1200" dirty="0" smtClean="0"/>
            <a:t>Optimized for workload</a:t>
          </a:r>
          <a:endParaRPr lang="en-CA" sz="3400" kern="1200" dirty="0"/>
        </a:p>
      </dsp:txBody>
      <dsp:txXfrm>
        <a:off x="3385339" y="881680"/>
        <a:ext cx="7193845" cy="1410827"/>
      </dsp:txXfrm>
    </dsp:sp>
    <dsp:sp modelId="{3AC7FE1F-3DA3-435B-ADA8-74B4EB65145D}">
      <dsp:nvSpPr>
        <dsp:cNvPr id="0" name=""/>
        <dsp:cNvSpPr/>
      </dsp:nvSpPr>
      <dsp:spPr>
        <a:xfrm>
          <a:off x="0" y="3063126"/>
          <a:ext cx="2642213" cy="1220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808" tIns="86360" rIns="241808" bIns="86360" numCol="1" spcCol="1270" anchor="ctr" anchorCtr="0">
          <a:noAutofit/>
        </a:bodyPr>
        <a:lstStyle/>
        <a:p>
          <a:pPr lvl="0" algn="r" defTabSz="1511300" rtl="0">
            <a:lnSpc>
              <a:spcPct val="90000"/>
            </a:lnSpc>
            <a:spcBef>
              <a:spcPct val="0"/>
            </a:spcBef>
            <a:spcAft>
              <a:spcPct val="35000"/>
            </a:spcAft>
          </a:pPr>
          <a:r>
            <a:rPr lang="en-US" sz="3400" kern="1200" dirty="0" smtClean="0"/>
            <a:t>Not </a:t>
          </a:r>
          <a:r>
            <a:rPr lang="en-US" sz="3400" kern="1200" dirty="0" smtClean="0"/>
            <a:t>a new concept</a:t>
          </a:r>
          <a:endParaRPr lang="en-CA" sz="3400" kern="1200" dirty="0"/>
        </a:p>
      </dsp:txBody>
      <dsp:txXfrm>
        <a:off x="0" y="3063126"/>
        <a:ext cx="2642213" cy="1220175"/>
      </dsp:txXfrm>
    </dsp:sp>
    <dsp:sp modelId="{50A282ED-5A1A-41FD-B7BD-3816225DA1B8}">
      <dsp:nvSpPr>
        <dsp:cNvPr id="0" name=""/>
        <dsp:cNvSpPr/>
      </dsp:nvSpPr>
      <dsp:spPr>
        <a:xfrm>
          <a:off x="2642213" y="2414908"/>
          <a:ext cx="528442" cy="2516610"/>
        </a:xfrm>
        <a:prstGeom prst="leftBrace">
          <a:avLst>
            <a:gd name="adj1" fmla="val 35000"/>
            <a:gd name="adj2" fmla="val 50000"/>
          </a:avLst>
        </a:prstGeom>
        <a:noFill/>
        <a:ln w="9525" cap="flat" cmpd="sng" algn="ctr">
          <a:solidFill>
            <a:schemeClr val="accent4">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52353F8-BCC2-41C2-AAC8-32E733589BFF}">
      <dsp:nvSpPr>
        <dsp:cNvPr id="0" name=""/>
        <dsp:cNvSpPr/>
      </dsp:nvSpPr>
      <dsp:spPr>
        <a:xfrm>
          <a:off x="3382033" y="2414908"/>
          <a:ext cx="7186820" cy="2516610"/>
        </a:xfrm>
        <a:prstGeom prst="rect">
          <a:avLst/>
        </a:prstGeom>
        <a:solidFill>
          <a:schemeClr val="accent4">
            <a:hueOff val="9695422"/>
            <a:satOff val="-13663"/>
            <a:lumOff val="1375"/>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9540" tIns="129540" rIns="129540" bIns="129540" numCol="1" spcCol="1270" anchor="ctr" anchorCtr="0">
          <a:noAutofit/>
        </a:bodyPr>
        <a:lstStyle/>
        <a:p>
          <a:pPr marL="285750" lvl="1" indent="-285750" algn="l" defTabSz="1511300" rtl="0">
            <a:lnSpc>
              <a:spcPct val="90000"/>
            </a:lnSpc>
            <a:spcBef>
              <a:spcPct val="0"/>
            </a:spcBef>
            <a:spcAft>
              <a:spcPct val="15000"/>
            </a:spcAft>
            <a:buChar char="••"/>
          </a:pPr>
          <a:r>
            <a:rPr lang="en-US" sz="3400" kern="1200" smtClean="0"/>
            <a:t>EAV</a:t>
          </a:r>
          <a:endParaRPr lang="en-CA" sz="3400" kern="1200"/>
        </a:p>
        <a:p>
          <a:pPr marL="285750" lvl="1" indent="-285750" algn="l" defTabSz="1511300" rtl="0">
            <a:lnSpc>
              <a:spcPct val="90000"/>
            </a:lnSpc>
            <a:spcBef>
              <a:spcPct val="0"/>
            </a:spcBef>
            <a:spcAft>
              <a:spcPct val="15000"/>
            </a:spcAft>
            <a:buChar char="••"/>
          </a:pPr>
          <a:r>
            <a:rPr lang="en-US" sz="3400" kern="1200" dirty="0" smtClean="0"/>
            <a:t>XML</a:t>
          </a:r>
          <a:endParaRPr lang="en-CA" sz="3400" kern="1200" dirty="0"/>
        </a:p>
        <a:p>
          <a:pPr marL="285750" lvl="1" indent="-285750" algn="l" defTabSz="1511300" rtl="0">
            <a:lnSpc>
              <a:spcPct val="90000"/>
            </a:lnSpc>
            <a:spcBef>
              <a:spcPct val="0"/>
            </a:spcBef>
            <a:spcAft>
              <a:spcPct val="15000"/>
            </a:spcAft>
            <a:buChar char="••"/>
          </a:pPr>
          <a:r>
            <a:rPr lang="en-US" sz="3400" kern="1200" dirty="0" smtClean="0"/>
            <a:t>Architecture paradigm: OLAP/DW and OLTP</a:t>
          </a:r>
          <a:endParaRPr lang="en-CA" sz="3400" kern="1200" dirty="0"/>
        </a:p>
      </dsp:txBody>
      <dsp:txXfrm>
        <a:off x="3382033" y="2414908"/>
        <a:ext cx="7186820" cy="25166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65765A-842C-424C-9433-961020819D29}">
      <dsp:nvSpPr>
        <dsp:cNvPr id="0" name=""/>
        <dsp:cNvSpPr/>
      </dsp:nvSpPr>
      <dsp:spPr>
        <a:xfrm>
          <a:off x="0" y="1960"/>
          <a:ext cx="5384800" cy="0"/>
        </a:xfrm>
        <a:prstGeom prst="line">
          <a:avLst/>
        </a:prstGeom>
        <a:solidFill>
          <a:schemeClr val="accent3">
            <a:shade val="80000"/>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E366FD-C33D-4637-ABDF-9BC7B612D219}">
      <dsp:nvSpPr>
        <dsp:cNvPr id="0" name=""/>
        <dsp:cNvSpPr/>
      </dsp:nvSpPr>
      <dsp:spPr>
        <a:xfrm>
          <a:off x="0" y="1960"/>
          <a:ext cx="5384800" cy="13372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020" tIns="160020" rIns="160020" bIns="160020" numCol="1" spcCol="1270" anchor="t" anchorCtr="0">
          <a:noAutofit/>
        </a:bodyPr>
        <a:lstStyle/>
        <a:p>
          <a:pPr lvl="0" algn="l" defTabSz="1866900" rtl="0">
            <a:lnSpc>
              <a:spcPct val="90000"/>
            </a:lnSpc>
            <a:spcBef>
              <a:spcPct val="0"/>
            </a:spcBef>
            <a:spcAft>
              <a:spcPct val="35000"/>
            </a:spcAft>
          </a:pPr>
          <a:r>
            <a:rPr lang="en-US" sz="4200" kern="1200" dirty="0" smtClean="0"/>
            <a:t>Basically Available</a:t>
          </a:r>
          <a:endParaRPr lang="en-CA" sz="4200" kern="1200" dirty="0"/>
        </a:p>
      </dsp:txBody>
      <dsp:txXfrm>
        <a:off x="0" y="1960"/>
        <a:ext cx="5384800" cy="1337243"/>
      </dsp:txXfrm>
    </dsp:sp>
    <dsp:sp modelId="{2B23A35F-F047-48E4-B8AC-B13182D510BB}">
      <dsp:nvSpPr>
        <dsp:cNvPr id="0" name=""/>
        <dsp:cNvSpPr/>
      </dsp:nvSpPr>
      <dsp:spPr>
        <a:xfrm>
          <a:off x="0" y="1339203"/>
          <a:ext cx="5384800" cy="0"/>
        </a:xfrm>
        <a:prstGeom prst="line">
          <a:avLst/>
        </a:prstGeom>
        <a:solidFill>
          <a:schemeClr val="accent3">
            <a:shade val="80000"/>
            <a:hueOff val="-224609"/>
            <a:satOff val="8769"/>
            <a:lumOff val="13949"/>
            <a:alphaOff val="0"/>
          </a:schemeClr>
        </a:solidFill>
        <a:ln w="25400" cap="flat" cmpd="sng" algn="ctr">
          <a:solidFill>
            <a:schemeClr val="accent3">
              <a:shade val="80000"/>
              <a:hueOff val="-224609"/>
              <a:satOff val="8769"/>
              <a:lumOff val="1394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4903C1-8602-4B20-9A77-FDB66FEBC9CA}">
      <dsp:nvSpPr>
        <dsp:cNvPr id="0" name=""/>
        <dsp:cNvSpPr/>
      </dsp:nvSpPr>
      <dsp:spPr>
        <a:xfrm>
          <a:off x="0" y="1339203"/>
          <a:ext cx="5384800" cy="13372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020" tIns="160020" rIns="160020" bIns="160020" numCol="1" spcCol="1270" anchor="t" anchorCtr="0">
          <a:noAutofit/>
        </a:bodyPr>
        <a:lstStyle/>
        <a:p>
          <a:pPr lvl="0" algn="l" defTabSz="1866900" rtl="0">
            <a:lnSpc>
              <a:spcPct val="90000"/>
            </a:lnSpc>
            <a:spcBef>
              <a:spcPct val="0"/>
            </a:spcBef>
            <a:spcAft>
              <a:spcPct val="35000"/>
            </a:spcAft>
          </a:pPr>
          <a:r>
            <a:rPr lang="en-US" sz="4200" kern="1200" smtClean="0"/>
            <a:t>Soft State</a:t>
          </a:r>
          <a:endParaRPr lang="en-CA" sz="4200" kern="1200"/>
        </a:p>
      </dsp:txBody>
      <dsp:txXfrm>
        <a:off x="0" y="1339203"/>
        <a:ext cx="5384800" cy="1337243"/>
      </dsp:txXfrm>
    </dsp:sp>
    <dsp:sp modelId="{7FB793CA-54AF-438A-887C-99924359FE1D}">
      <dsp:nvSpPr>
        <dsp:cNvPr id="0" name=""/>
        <dsp:cNvSpPr/>
      </dsp:nvSpPr>
      <dsp:spPr>
        <a:xfrm>
          <a:off x="0" y="2676447"/>
          <a:ext cx="5384800" cy="0"/>
        </a:xfrm>
        <a:prstGeom prst="line">
          <a:avLst/>
        </a:prstGeom>
        <a:solidFill>
          <a:schemeClr val="accent3">
            <a:shade val="80000"/>
            <a:hueOff val="-449217"/>
            <a:satOff val="17538"/>
            <a:lumOff val="27898"/>
            <a:alphaOff val="0"/>
          </a:schemeClr>
        </a:solidFill>
        <a:ln w="25400" cap="flat" cmpd="sng" algn="ctr">
          <a:solidFill>
            <a:schemeClr val="accent3">
              <a:shade val="80000"/>
              <a:hueOff val="-449217"/>
              <a:satOff val="17538"/>
              <a:lumOff val="2789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F0F2EA-9CDC-47BB-B52A-01B221C96D05}">
      <dsp:nvSpPr>
        <dsp:cNvPr id="0" name=""/>
        <dsp:cNvSpPr/>
      </dsp:nvSpPr>
      <dsp:spPr>
        <a:xfrm>
          <a:off x="0" y="2676447"/>
          <a:ext cx="5384800" cy="13372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020" tIns="160020" rIns="160020" bIns="160020" numCol="1" spcCol="1270" anchor="t" anchorCtr="0">
          <a:noAutofit/>
        </a:bodyPr>
        <a:lstStyle/>
        <a:p>
          <a:pPr lvl="0" algn="l" defTabSz="1866900" rtl="0">
            <a:lnSpc>
              <a:spcPct val="90000"/>
            </a:lnSpc>
            <a:spcBef>
              <a:spcPct val="0"/>
            </a:spcBef>
            <a:spcAft>
              <a:spcPct val="35000"/>
            </a:spcAft>
          </a:pPr>
          <a:r>
            <a:rPr lang="en-US" sz="4200" kern="1200" smtClean="0"/>
            <a:t>Eventually Consistent</a:t>
          </a:r>
          <a:endParaRPr lang="en-CA" sz="4200" kern="1200"/>
        </a:p>
      </dsp:txBody>
      <dsp:txXfrm>
        <a:off x="0" y="2676447"/>
        <a:ext cx="5384800" cy="133724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387168-8B6B-4664-BF89-5EE428543463}">
      <dsp:nvSpPr>
        <dsp:cNvPr id="0" name=""/>
        <dsp:cNvSpPr/>
      </dsp:nvSpPr>
      <dsp:spPr>
        <a:xfrm>
          <a:off x="0" y="0"/>
          <a:ext cx="5384800"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4949E1-7D38-403A-8835-7C53E7793D42}">
      <dsp:nvSpPr>
        <dsp:cNvPr id="0" name=""/>
        <dsp:cNvSpPr/>
      </dsp:nvSpPr>
      <dsp:spPr>
        <a:xfrm>
          <a:off x="0" y="0"/>
          <a:ext cx="5384800" cy="1003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830" tIns="163830" rIns="163830" bIns="163830" numCol="1" spcCol="1270" anchor="t" anchorCtr="0">
          <a:noAutofit/>
        </a:bodyPr>
        <a:lstStyle/>
        <a:p>
          <a:pPr lvl="0" algn="l" defTabSz="1911350" rtl="0">
            <a:lnSpc>
              <a:spcPct val="90000"/>
            </a:lnSpc>
            <a:spcBef>
              <a:spcPct val="0"/>
            </a:spcBef>
            <a:spcAft>
              <a:spcPct val="35000"/>
            </a:spcAft>
          </a:pPr>
          <a:r>
            <a:rPr lang="en-CA" sz="4300" kern="1200" smtClean="0"/>
            <a:t>Atomic</a:t>
          </a:r>
          <a:endParaRPr lang="en-CA" sz="4300" kern="1200"/>
        </a:p>
      </dsp:txBody>
      <dsp:txXfrm>
        <a:off x="0" y="0"/>
        <a:ext cx="5384800" cy="1003912"/>
      </dsp:txXfrm>
    </dsp:sp>
    <dsp:sp modelId="{24A1C3D6-D2B5-45F6-B3EC-7E56178D9CE4}">
      <dsp:nvSpPr>
        <dsp:cNvPr id="0" name=""/>
        <dsp:cNvSpPr/>
      </dsp:nvSpPr>
      <dsp:spPr>
        <a:xfrm>
          <a:off x="0" y="1003912"/>
          <a:ext cx="5384800"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2F3A812-555A-4A0D-BF25-D30796407AE1}">
      <dsp:nvSpPr>
        <dsp:cNvPr id="0" name=""/>
        <dsp:cNvSpPr/>
      </dsp:nvSpPr>
      <dsp:spPr>
        <a:xfrm>
          <a:off x="0" y="1003912"/>
          <a:ext cx="5384800" cy="1003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830" tIns="163830" rIns="163830" bIns="163830" numCol="1" spcCol="1270" anchor="t" anchorCtr="0">
          <a:noAutofit/>
        </a:bodyPr>
        <a:lstStyle/>
        <a:p>
          <a:pPr lvl="0" algn="l" defTabSz="1911350" rtl="0">
            <a:lnSpc>
              <a:spcPct val="90000"/>
            </a:lnSpc>
            <a:spcBef>
              <a:spcPct val="0"/>
            </a:spcBef>
            <a:spcAft>
              <a:spcPct val="35000"/>
            </a:spcAft>
          </a:pPr>
          <a:r>
            <a:rPr lang="en-CA" sz="4300" kern="1200" smtClean="0"/>
            <a:t>Consistent</a:t>
          </a:r>
          <a:endParaRPr lang="en-CA" sz="4300" kern="1200"/>
        </a:p>
      </dsp:txBody>
      <dsp:txXfrm>
        <a:off x="0" y="1003912"/>
        <a:ext cx="5384800" cy="1003912"/>
      </dsp:txXfrm>
    </dsp:sp>
    <dsp:sp modelId="{D03A3065-6D20-44A8-9E29-E69371A98C73}">
      <dsp:nvSpPr>
        <dsp:cNvPr id="0" name=""/>
        <dsp:cNvSpPr/>
      </dsp:nvSpPr>
      <dsp:spPr>
        <a:xfrm>
          <a:off x="0" y="2007825"/>
          <a:ext cx="5384800"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56E57C-52F8-4D93-AD1D-13C873035E08}">
      <dsp:nvSpPr>
        <dsp:cNvPr id="0" name=""/>
        <dsp:cNvSpPr/>
      </dsp:nvSpPr>
      <dsp:spPr>
        <a:xfrm>
          <a:off x="0" y="2007825"/>
          <a:ext cx="5384800" cy="1003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830" tIns="163830" rIns="163830" bIns="163830" numCol="1" spcCol="1270" anchor="t" anchorCtr="0">
          <a:noAutofit/>
        </a:bodyPr>
        <a:lstStyle/>
        <a:p>
          <a:pPr lvl="0" algn="l" defTabSz="1911350" rtl="0">
            <a:lnSpc>
              <a:spcPct val="90000"/>
            </a:lnSpc>
            <a:spcBef>
              <a:spcPct val="0"/>
            </a:spcBef>
            <a:spcAft>
              <a:spcPct val="35000"/>
            </a:spcAft>
          </a:pPr>
          <a:r>
            <a:rPr lang="en-CA" sz="4300" kern="1200" smtClean="0"/>
            <a:t>Isolated</a:t>
          </a:r>
          <a:endParaRPr lang="en-CA" sz="4300" kern="1200"/>
        </a:p>
      </dsp:txBody>
      <dsp:txXfrm>
        <a:off x="0" y="2007825"/>
        <a:ext cx="5384800" cy="1003912"/>
      </dsp:txXfrm>
    </dsp:sp>
    <dsp:sp modelId="{8DAE5AD9-B75E-4CAF-A02E-CA2C0BBE1ED5}">
      <dsp:nvSpPr>
        <dsp:cNvPr id="0" name=""/>
        <dsp:cNvSpPr/>
      </dsp:nvSpPr>
      <dsp:spPr>
        <a:xfrm>
          <a:off x="0" y="3011738"/>
          <a:ext cx="5384800"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76AF78-CDA1-4C85-8E89-27BBEA04D9BF}">
      <dsp:nvSpPr>
        <dsp:cNvPr id="0" name=""/>
        <dsp:cNvSpPr/>
      </dsp:nvSpPr>
      <dsp:spPr>
        <a:xfrm>
          <a:off x="0" y="3011738"/>
          <a:ext cx="5384800" cy="1003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830" tIns="163830" rIns="163830" bIns="163830" numCol="1" spcCol="1270" anchor="t" anchorCtr="0">
          <a:noAutofit/>
        </a:bodyPr>
        <a:lstStyle/>
        <a:p>
          <a:pPr lvl="0" algn="l" defTabSz="1911350" rtl="0">
            <a:lnSpc>
              <a:spcPct val="90000"/>
            </a:lnSpc>
            <a:spcBef>
              <a:spcPct val="0"/>
            </a:spcBef>
            <a:spcAft>
              <a:spcPct val="35000"/>
            </a:spcAft>
          </a:pPr>
          <a:r>
            <a:rPr lang="en-CA" sz="4300" kern="1200" smtClean="0"/>
            <a:t>Durable</a:t>
          </a:r>
          <a:endParaRPr lang="en-CA" sz="4300" kern="1200"/>
        </a:p>
      </dsp:txBody>
      <dsp:txXfrm>
        <a:off x="0" y="3011738"/>
        <a:ext cx="5384800" cy="10039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D0B7AC-2712-48F0-9673-E12A850A0E42}">
      <dsp:nvSpPr>
        <dsp:cNvPr id="0" name=""/>
        <dsp:cNvSpPr/>
      </dsp:nvSpPr>
      <dsp:spPr>
        <a:xfrm>
          <a:off x="8135" y="2298527"/>
          <a:ext cx="3289565" cy="200981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rtl="0">
            <a:lnSpc>
              <a:spcPct val="90000"/>
            </a:lnSpc>
            <a:spcBef>
              <a:spcPct val="0"/>
            </a:spcBef>
            <a:spcAft>
              <a:spcPct val="35000"/>
            </a:spcAft>
          </a:pPr>
          <a:r>
            <a:rPr lang="en-CA" sz="6500" kern="1200" dirty="0" err="1" smtClean="0"/>
            <a:t>PaaS</a:t>
          </a:r>
          <a:endParaRPr lang="en-CA" sz="6500" kern="1200" dirty="0"/>
        </a:p>
      </dsp:txBody>
      <dsp:txXfrm>
        <a:off x="67001" y="2357393"/>
        <a:ext cx="3171833" cy="1892087"/>
      </dsp:txXfrm>
    </dsp:sp>
    <dsp:sp modelId="{26F0D24A-5698-4B56-A194-19D704BDBF94}">
      <dsp:nvSpPr>
        <dsp:cNvPr id="0" name=""/>
        <dsp:cNvSpPr/>
      </dsp:nvSpPr>
      <dsp:spPr>
        <a:xfrm>
          <a:off x="8135" y="1716"/>
          <a:ext cx="3289565" cy="200981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CA" sz="4000" kern="1200" dirty="0" smtClean="0"/>
            <a:t>Platform</a:t>
          </a:r>
          <a:endParaRPr lang="en-CA" sz="4000" kern="1200" dirty="0"/>
        </a:p>
      </dsp:txBody>
      <dsp:txXfrm>
        <a:off x="67001" y="60582"/>
        <a:ext cx="3171833" cy="1892087"/>
      </dsp:txXfrm>
    </dsp:sp>
    <dsp:sp modelId="{9139F2FB-099D-4E64-BC44-D8C182F76B87}">
      <dsp:nvSpPr>
        <dsp:cNvPr id="0" name=""/>
        <dsp:cNvSpPr/>
      </dsp:nvSpPr>
      <dsp:spPr>
        <a:xfrm>
          <a:off x="3850348" y="2298527"/>
          <a:ext cx="3289565" cy="200981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rtl="0">
            <a:lnSpc>
              <a:spcPct val="90000"/>
            </a:lnSpc>
            <a:spcBef>
              <a:spcPct val="0"/>
            </a:spcBef>
            <a:spcAft>
              <a:spcPct val="35000"/>
            </a:spcAft>
          </a:pPr>
          <a:r>
            <a:rPr lang="en-CA" sz="6500" kern="1200" dirty="0" smtClean="0"/>
            <a:t>IaaS</a:t>
          </a:r>
          <a:endParaRPr lang="en-CA" sz="6500" kern="1200" dirty="0"/>
        </a:p>
      </dsp:txBody>
      <dsp:txXfrm>
        <a:off x="3909214" y="2357393"/>
        <a:ext cx="3171833" cy="1892087"/>
      </dsp:txXfrm>
    </dsp:sp>
    <dsp:sp modelId="{8E128F1D-1FEB-4E44-8570-558D2157C3D2}">
      <dsp:nvSpPr>
        <dsp:cNvPr id="0" name=""/>
        <dsp:cNvSpPr/>
      </dsp:nvSpPr>
      <dsp:spPr>
        <a:xfrm>
          <a:off x="3850348" y="1716"/>
          <a:ext cx="3289565" cy="200981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CA" sz="4000" kern="1200" dirty="0" smtClean="0"/>
            <a:t>Infrastructure</a:t>
          </a:r>
          <a:endParaRPr lang="en-CA" sz="4000" kern="1200" dirty="0"/>
        </a:p>
      </dsp:txBody>
      <dsp:txXfrm>
        <a:off x="3909214" y="60582"/>
        <a:ext cx="3171833" cy="1892087"/>
      </dsp:txXfrm>
    </dsp:sp>
    <dsp:sp modelId="{67DA6D24-C586-42C6-9CF1-BECE2497783D}">
      <dsp:nvSpPr>
        <dsp:cNvPr id="0" name=""/>
        <dsp:cNvSpPr/>
      </dsp:nvSpPr>
      <dsp:spPr>
        <a:xfrm>
          <a:off x="7692560" y="2298527"/>
          <a:ext cx="3289565" cy="200981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rtl="0">
            <a:lnSpc>
              <a:spcPct val="90000"/>
            </a:lnSpc>
            <a:spcBef>
              <a:spcPct val="0"/>
            </a:spcBef>
            <a:spcAft>
              <a:spcPct val="35000"/>
            </a:spcAft>
          </a:pPr>
          <a:r>
            <a:rPr lang="en-CA" sz="6500" kern="1200" dirty="0" smtClean="0"/>
            <a:t>SaaS</a:t>
          </a:r>
          <a:endParaRPr lang="en-CA" sz="6500" kern="1200" dirty="0"/>
        </a:p>
      </dsp:txBody>
      <dsp:txXfrm>
        <a:off x="7751426" y="2357393"/>
        <a:ext cx="3171833" cy="1892087"/>
      </dsp:txXfrm>
    </dsp:sp>
    <dsp:sp modelId="{35D9CB08-65FA-42C8-97B2-6DA49B4CA8F9}">
      <dsp:nvSpPr>
        <dsp:cNvPr id="0" name=""/>
        <dsp:cNvSpPr/>
      </dsp:nvSpPr>
      <dsp:spPr>
        <a:xfrm>
          <a:off x="7692560" y="1716"/>
          <a:ext cx="3289565" cy="200981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CA" sz="4000" kern="1200" dirty="0" smtClean="0"/>
            <a:t>Service</a:t>
          </a:r>
          <a:endParaRPr lang="en-CA" sz="4000" kern="1200" dirty="0"/>
        </a:p>
      </dsp:txBody>
      <dsp:txXfrm>
        <a:off x="7751426" y="60582"/>
        <a:ext cx="3171833" cy="1892087"/>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63FA39-66D9-4196-A4EA-4202A51FF9A1}" type="datetimeFigureOut">
              <a:rPr lang="en-US" smtClean="0"/>
              <a:t>4/5/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A3D9E7-2D76-4171-9163-240F21E1FAB4}" type="slidenum">
              <a:rPr lang="en-US" smtClean="0"/>
              <a:t>‹#›</a:t>
            </a:fld>
            <a:endParaRPr lang="en-US"/>
          </a:p>
        </p:txBody>
      </p:sp>
    </p:spTree>
    <p:extLst>
      <p:ext uri="{BB962C8B-B14F-4D97-AF65-F5344CB8AC3E}">
        <p14:creationId xmlns:p14="http://schemas.microsoft.com/office/powerpoint/2010/main" val="1317700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A3D9E7-2D76-4171-9163-240F21E1FAB4}" type="slidenum">
              <a:rPr lang="en-US" smtClean="0"/>
              <a:t>2</a:t>
            </a:fld>
            <a:endParaRPr lang="en-US"/>
          </a:p>
        </p:txBody>
      </p:sp>
    </p:spTree>
    <p:extLst>
      <p:ext uri="{BB962C8B-B14F-4D97-AF65-F5344CB8AC3E}">
        <p14:creationId xmlns:p14="http://schemas.microsoft.com/office/powerpoint/2010/main" val="13582417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1200" b="1" dirty="0" smtClean="0"/>
              <a:t>Presenter</a:t>
            </a:r>
            <a:r>
              <a:rPr lang="en-US" sz="1200" b="1" baseline="0" dirty="0" smtClean="0"/>
              <a:t> guidance:</a:t>
            </a:r>
          </a:p>
          <a:p>
            <a:pPr marL="0" marR="0" indent="0" algn="l" defTabSz="914400" rtl="0" eaLnBrk="1" fontAlgn="auto" latinLnBrk="0" hangingPunct="1">
              <a:lnSpc>
                <a:spcPct val="100000"/>
              </a:lnSpc>
              <a:spcBef>
                <a:spcPct val="0"/>
              </a:spcBef>
              <a:spcAft>
                <a:spcPts val="0"/>
              </a:spcAft>
              <a:buClrTx/>
              <a:buSzTx/>
              <a:buFontTx/>
              <a:buNone/>
              <a:tabLst/>
              <a:defRPr/>
            </a:pPr>
            <a:r>
              <a:rPr lang="en-US" sz="1200" dirty="0" smtClean="0"/>
              <a:t>Introduce the family portrait.</a:t>
            </a:r>
            <a:endParaRPr lang="en-US" sz="1200" baseline="0" dirty="0" smtClean="0"/>
          </a:p>
          <a:p>
            <a:pPr marL="0" marR="0" indent="0" algn="l" defTabSz="914400" rtl="0" eaLnBrk="1" fontAlgn="auto" latinLnBrk="0" hangingPunct="1">
              <a:lnSpc>
                <a:spcPct val="100000"/>
              </a:lnSpc>
              <a:spcBef>
                <a:spcPct val="0"/>
              </a:spcBef>
              <a:spcAft>
                <a:spcPts val="0"/>
              </a:spcAft>
              <a:buClrTx/>
              <a:buSzTx/>
              <a:buFontTx/>
              <a:buNone/>
              <a:tabLst/>
              <a:defRPr/>
            </a:pPr>
            <a:endParaRPr lang="en-US" sz="1200" b="1" dirty="0" smtClean="0"/>
          </a:p>
          <a:p>
            <a:pPr eaLnBrk="1" hangingPunct="1">
              <a:spcBef>
                <a:spcPct val="0"/>
              </a:spcBef>
            </a:pPr>
            <a:r>
              <a:rPr lang="en-US" sz="1200" b="1" dirty="0" smtClean="0"/>
              <a:t>Slide talk track:</a:t>
            </a:r>
          </a:p>
          <a:p>
            <a:pPr marL="171450" indent="-171450" eaLnBrk="1" hangingPunct="1">
              <a:spcBef>
                <a:spcPct val="0"/>
              </a:spcBef>
              <a:buFont typeface="Arial" panose="020B0604020202020204" pitchFamily="34" charset="0"/>
              <a:buChar char="•"/>
            </a:pPr>
            <a:r>
              <a:rPr lang="en-US" sz="1200" b="0" dirty="0" smtClean="0"/>
              <a:t>This</a:t>
            </a:r>
            <a:r>
              <a:rPr lang="en-US" sz="1200" b="0" baseline="0" dirty="0" smtClean="0"/>
              <a:t> is how we think about the core differences across the data services for capturing and managing data</a:t>
            </a:r>
          </a:p>
          <a:p>
            <a:pPr marL="171450" indent="-171450" eaLnBrk="1" hangingPunct="1">
              <a:spcBef>
                <a:spcPct val="0"/>
              </a:spcBef>
              <a:buFont typeface="Arial" panose="020B0604020202020204" pitchFamily="34" charset="0"/>
              <a:buChar char="•"/>
            </a:pPr>
            <a:r>
              <a:rPr lang="en-US" sz="1200" b="0" baseline="0" dirty="0" smtClean="0"/>
              <a:t>On the left, you have more database imposed structure on the left and this loosens as you move to the right, ending in blobs which is just large containers of binary data.</a:t>
            </a:r>
          </a:p>
          <a:p>
            <a:pPr marL="171450" indent="-171450" eaLnBrk="1" hangingPunct="1">
              <a:spcBef>
                <a:spcPct val="0"/>
              </a:spcBef>
              <a:buFont typeface="Arial" panose="020B0604020202020204" pitchFamily="34" charset="0"/>
              <a:buChar char="•"/>
            </a:pPr>
            <a:endParaRPr lang="en-US" sz="1200" b="0" dirty="0" smtClean="0"/>
          </a:p>
        </p:txBody>
      </p:sp>
      <p:sp>
        <p:nvSpPr>
          <p:cNvPr id="4" name="Slide Number Placeholder 3"/>
          <p:cNvSpPr>
            <a:spLocks noGrp="1"/>
          </p:cNvSpPr>
          <p:nvPr>
            <p:ph type="sldNum" sz="quarter" idx="10"/>
          </p:nvPr>
        </p:nvSpPr>
        <p:spPr/>
        <p:txBody>
          <a:bodyPr/>
          <a:lstStyle/>
          <a:p>
            <a:fld id="{D43DDAC6-747A-4F9E-82DD-C589F449FBBC}"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485075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b="1" dirty="0" smtClean="0"/>
              <a:t>Presenter</a:t>
            </a:r>
            <a:r>
              <a:rPr lang="en-US" b="1" baseline="0" dirty="0" smtClean="0"/>
              <a:t> guidance:</a:t>
            </a:r>
          </a:p>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Share how we think</a:t>
            </a:r>
            <a:r>
              <a:rPr lang="en-US" baseline="0" dirty="0" smtClean="0"/>
              <a:t> about the data platform in the cloud. Today, we’ll specifically talk about SQL in a VM (briefly), SQL DB, DocumentDB, HBase on HDInsight, and Tables/Blobs. There are lots of other adjacent services such as Redis Cache, Event Hubs, HDInsight, Azure ML, Data Factory, Stream Analytics that will not be addressed in this deck.</a:t>
            </a:r>
            <a:endParaRPr lang="en-US" dirty="0" smtClean="0"/>
          </a:p>
          <a:p>
            <a:pPr eaLnBrk="1" hangingPunct="1">
              <a:spcBef>
                <a:spcPct val="0"/>
              </a:spcBef>
            </a:pPr>
            <a:endParaRPr lang="en-US" b="1" dirty="0" smtClean="0"/>
          </a:p>
          <a:p>
            <a:pPr eaLnBrk="1" hangingPunct="1">
              <a:spcBef>
                <a:spcPct val="0"/>
              </a:spcBef>
            </a:pPr>
            <a:r>
              <a:rPr lang="en-US" b="1" dirty="0" smtClean="0"/>
              <a:t>Slide talk track:</a:t>
            </a:r>
          </a:p>
          <a:p>
            <a:pPr marL="171450" indent="-171450" eaLnBrk="1" hangingPunct="1">
              <a:spcBef>
                <a:spcPct val="0"/>
              </a:spcBef>
              <a:buFont typeface="Arial" panose="020B0604020202020204" pitchFamily="34" charset="0"/>
              <a:buChar char="•"/>
            </a:pPr>
            <a:r>
              <a:rPr lang="en-US" b="0" dirty="0" smtClean="0"/>
              <a:t>The</a:t>
            </a:r>
            <a:r>
              <a:rPr lang="en-US" b="0" baseline="0" dirty="0" smtClean="0"/>
              <a:t> top row is Power BI – you’re making decisions based on data</a:t>
            </a:r>
          </a:p>
          <a:p>
            <a:pPr marL="171450" indent="-171450" eaLnBrk="1" hangingPunct="1">
              <a:spcBef>
                <a:spcPct val="0"/>
              </a:spcBef>
              <a:buFont typeface="Arial" panose="020B0604020202020204" pitchFamily="34" charset="0"/>
              <a:buChar char="•"/>
            </a:pPr>
            <a:r>
              <a:rPr lang="en-US" b="0" baseline="0" dirty="0" smtClean="0"/>
              <a:t>The middle row is ML, Stream Analytics, HDInsight, and Data Factory – processing and making sense of the data</a:t>
            </a:r>
          </a:p>
          <a:p>
            <a:pPr marL="171450" indent="-171450" eaLnBrk="1" hangingPunct="1">
              <a:spcBef>
                <a:spcPct val="0"/>
              </a:spcBef>
              <a:buFont typeface="Arial" panose="020B0604020202020204" pitchFamily="34" charset="0"/>
              <a:buChar char="•"/>
            </a:pPr>
            <a:r>
              <a:rPr lang="en-US" b="0" baseline="0" dirty="0" smtClean="0"/>
              <a:t>The bottom row is where you ingest and store data - </a:t>
            </a:r>
            <a:endParaRPr lang="en-US" b="0" dirty="0" smtClean="0"/>
          </a:p>
          <a:p>
            <a:pPr marL="171450" indent="-171450">
              <a:buFont typeface="Arial" panose="020B0604020202020204" pitchFamily="34" charset="0"/>
              <a:buChar char="•"/>
            </a:pPr>
            <a:r>
              <a:rPr lang="en-US" baseline="0" dirty="0" smtClean="0"/>
              <a:t>With Azure, organizations have access to a whole range of services that allow them to use the right tool for the right job when developing applications. </a:t>
            </a:r>
          </a:p>
          <a:p>
            <a:pPr marL="171450" indent="-171450">
              <a:buFont typeface="Arial" panose="020B0604020202020204" pitchFamily="34" charset="0"/>
              <a:buChar char="•"/>
            </a:pPr>
            <a:r>
              <a:rPr lang="en-US" baseline="0" dirty="0" smtClean="0"/>
              <a:t>In the cloud, organizations can collect and manage data in the form in which it’s born and store it in the form that best suits an application’s needs. </a:t>
            </a:r>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2259073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DDD65AC4-17B0-4E19-8496-B264E70A18D3}" type="slidenum">
              <a:rPr lang="en-US" smtClean="0"/>
              <a:t>4</a:t>
            </a:fld>
            <a:endParaRPr lang="en-US"/>
          </a:p>
        </p:txBody>
      </p:sp>
    </p:spTree>
    <p:extLst>
      <p:ext uri="{BB962C8B-B14F-4D97-AF65-F5344CB8AC3E}">
        <p14:creationId xmlns:p14="http://schemas.microsoft.com/office/powerpoint/2010/main" val="6270794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t>7</a:t>
            </a:fld>
            <a:endParaRPr lang="en-US"/>
          </a:p>
        </p:txBody>
      </p:sp>
    </p:spTree>
    <p:extLst>
      <p:ext uri="{BB962C8B-B14F-4D97-AF65-F5344CB8AC3E}">
        <p14:creationId xmlns:p14="http://schemas.microsoft.com/office/powerpoint/2010/main" val="760726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adoop suits multiple data platform needs in a variety of workloads.  In a canonical IoT scenario you will find Hadoop supporting streaming, realtime, and batch oriented workloads.  Microsoft Azure will support all these workloads </a:t>
            </a:r>
            <a:r>
              <a:rPr lang="en-US" b="1" baseline="0" dirty="0"/>
              <a:t>from a 1st party (Microsoft developed) service, as well as 3rd party (Partner developed) solutions. </a:t>
            </a:r>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4/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6338981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DDD65AC4-17B0-4E19-8496-B264E70A18D3}" type="slidenum">
              <a:rPr lang="en-US" smtClean="0"/>
              <a:t>11</a:t>
            </a:fld>
            <a:endParaRPr lang="en-US"/>
          </a:p>
        </p:txBody>
      </p:sp>
    </p:spTree>
    <p:extLst>
      <p:ext uri="{BB962C8B-B14F-4D97-AF65-F5344CB8AC3E}">
        <p14:creationId xmlns:p14="http://schemas.microsoft.com/office/powerpoint/2010/main" val="23641337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Drop Partition Tolerance</a:t>
            </a:r>
            <a:endParaRPr lang="en-US" dirty="0" smtClean="0"/>
          </a:p>
          <a:p>
            <a:r>
              <a:rPr lang="en-US" dirty="0" smtClean="0"/>
              <a:t>Put it on one machine and you are fine…. Except this</a:t>
            </a:r>
            <a:r>
              <a:rPr lang="en-US" baseline="0" dirty="0" smtClean="0"/>
              <a:t> imposes scale limitations.</a:t>
            </a:r>
            <a:endParaRPr lang="en-US" dirty="0" smtClean="0"/>
          </a:p>
          <a:p>
            <a:r>
              <a:rPr lang="en-US" b="1" dirty="0" smtClean="0"/>
              <a:t>Drop Availability</a:t>
            </a:r>
            <a:endParaRPr lang="en-US" dirty="0" smtClean="0"/>
          </a:p>
          <a:p>
            <a:r>
              <a:rPr lang="en-US" dirty="0" smtClean="0"/>
              <a:t>Just wait</a:t>
            </a:r>
            <a:r>
              <a:rPr lang="en-US" baseline="0" dirty="0" smtClean="0"/>
              <a:t> for the data to be consistent on all nodes in the cluster.  No services may access nodes in the cluster until it is consistent.</a:t>
            </a:r>
            <a:endParaRPr lang="en-US" dirty="0" smtClean="0"/>
          </a:p>
          <a:p>
            <a:r>
              <a:rPr lang="en-US" b="1" dirty="0" smtClean="0"/>
              <a:t>Drop Consistency</a:t>
            </a:r>
            <a:endParaRPr lang="en-US" dirty="0" smtClean="0"/>
          </a:p>
          <a:p>
            <a:r>
              <a:rPr lang="en-US" dirty="0" smtClean="0"/>
              <a:t>Wait for things to be eventually consistent.  Can you get “close enough” or feed stale data?  </a:t>
            </a:r>
            <a:r>
              <a:rPr lang="en-US" dirty="0" err="1" smtClean="0"/>
              <a:t>Hm</a:t>
            </a:r>
            <a:r>
              <a:rPr lang="en-US" smtClean="0"/>
              <a:t>…</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123132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A</a:t>
            </a:r>
            <a:r>
              <a:rPr lang="en-US" sz="1200" b="0" kern="1200" dirty="0" smtClean="0">
                <a:solidFill>
                  <a:schemeClr val="tx1"/>
                </a:solidFill>
                <a:effectLst/>
                <a:latin typeface="+mn-lt"/>
                <a:ea typeface="+mn-ea"/>
                <a:cs typeface="+mn-cs"/>
              </a:rPr>
              <a:t>tomic: Everything in a transaction succeeds or the entire transaction is rolled back.</a:t>
            </a:r>
          </a:p>
          <a:p>
            <a:r>
              <a:rPr lang="en-US" sz="1200" b="1" kern="1200" dirty="0" smtClean="0">
                <a:solidFill>
                  <a:schemeClr val="tx1"/>
                </a:solidFill>
                <a:effectLst/>
                <a:latin typeface="+mn-lt"/>
                <a:ea typeface="+mn-ea"/>
                <a:cs typeface="+mn-cs"/>
              </a:rPr>
              <a:t>C</a:t>
            </a:r>
            <a:r>
              <a:rPr lang="en-US" sz="1200" b="0" kern="1200" dirty="0" smtClean="0">
                <a:solidFill>
                  <a:schemeClr val="tx1"/>
                </a:solidFill>
                <a:effectLst/>
                <a:latin typeface="+mn-lt"/>
                <a:ea typeface="+mn-ea"/>
                <a:cs typeface="+mn-cs"/>
              </a:rPr>
              <a:t>onsistent: A transaction cannot leave the database in an inconsistent state.</a:t>
            </a:r>
          </a:p>
          <a:p>
            <a:r>
              <a:rPr lang="en-US" sz="1200" b="1" kern="1200" dirty="0" smtClean="0">
                <a:solidFill>
                  <a:schemeClr val="tx1"/>
                </a:solidFill>
                <a:effectLst/>
                <a:latin typeface="+mn-lt"/>
                <a:ea typeface="+mn-ea"/>
                <a:cs typeface="+mn-cs"/>
              </a:rPr>
              <a:t>I</a:t>
            </a:r>
            <a:r>
              <a:rPr lang="en-US" sz="1200" b="0" kern="1200" dirty="0" smtClean="0">
                <a:solidFill>
                  <a:schemeClr val="tx1"/>
                </a:solidFill>
                <a:effectLst/>
                <a:latin typeface="+mn-lt"/>
                <a:ea typeface="+mn-ea"/>
                <a:cs typeface="+mn-cs"/>
              </a:rPr>
              <a:t>solated: Transactions cannot interfere with each other.</a:t>
            </a:r>
          </a:p>
          <a:p>
            <a:r>
              <a:rPr lang="en-US" sz="1200" b="1" kern="1200" dirty="0" smtClean="0">
                <a:solidFill>
                  <a:schemeClr val="tx1"/>
                </a:solidFill>
                <a:effectLst/>
                <a:latin typeface="+mn-lt"/>
                <a:ea typeface="+mn-ea"/>
                <a:cs typeface="+mn-cs"/>
              </a:rPr>
              <a:t>D</a:t>
            </a:r>
            <a:r>
              <a:rPr lang="en-US" sz="1200" b="0" kern="1200" dirty="0" smtClean="0">
                <a:solidFill>
                  <a:schemeClr val="tx1"/>
                </a:solidFill>
                <a:effectLst/>
                <a:latin typeface="+mn-lt"/>
                <a:ea typeface="+mn-ea"/>
                <a:cs typeface="+mn-cs"/>
              </a:rPr>
              <a:t>urable: Completed transactions persist, even when servers restart etc.</a:t>
            </a: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2980948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DDD65AC4-17B0-4E19-8496-B264E70A18D3}" type="slidenum">
              <a:rPr lang="en-US" smtClean="0"/>
              <a:t>14</a:t>
            </a:fld>
            <a:endParaRPr lang="en-US"/>
          </a:p>
        </p:txBody>
      </p:sp>
    </p:spTree>
    <p:extLst>
      <p:ext uri="{BB962C8B-B14F-4D97-AF65-F5344CB8AC3E}">
        <p14:creationId xmlns:p14="http://schemas.microsoft.com/office/powerpoint/2010/main" val="15531222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4C02E3B-13C9-4CAA-A64E-7AB14231C6B3}" type="datetimeFigureOut">
              <a:rPr lang="en-US" smtClean="0"/>
              <a:t>4/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7091448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4C02E3B-13C9-4CAA-A64E-7AB14231C6B3}" type="datetimeFigureOut">
              <a:rPr lang="en-US" smtClean="0"/>
              <a:t>4/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1345814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4C02E3B-13C9-4CAA-A64E-7AB14231C6B3}" type="datetimeFigureOut">
              <a:rPr lang="en-US" smtClean="0"/>
              <a:t>4/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6812455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609315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55" tIns="38082" rIns="76155" bIns="38082" numCol="1" rtlCol="0" anchor="ctr" anchorCtr="0" compatLnSpc="1">
            <a:prstTxWarp prst="textNoShape">
              <a:avLst/>
            </a:prstTxWarp>
          </a:bodyPr>
          <a:lstStyle/>
          <a:p>
            <a:pPr algn="ctr" defTabSz="761310"/>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582362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485380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5483996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461180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4023020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492199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52" tIns="109688" rIns="146252" bIns="109688">
            <a:noAutofit/>
          </a:bodyPr>
          <a:lstStyle>
            <a:lvl1pPr marL="0" indent="0">
              <a:spcBef>
                <a:spcPts val="0"/>
              </a:spcBef>
              <a:buNone/>
              <a:defRPr sz="3431"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52" tIns="91409" rIns="146252" bIns="91409" anchor="t" anchorCtr="0"/>
          <a:lstStyle>
            <a:lvl1pPr>
              <a:defRPr sz="5784" spc="-99"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00604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4C02E3B-13C9-4CAA-A64E-7AB14231C6B3}" type="datetimeFigureOut">
              <a:rPr lang="en-US" smtClean="0"/>
              <a:t>4/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4238903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8"/>
            <a:ext cx="9859116" cy="2697988"/>
          </a:xfrm>
          <a:noFill/>
        </p:spPr>
        <p:txBody>
          <a:bodyPr tIns="91409" bIns="91409" anchor="t" anchorCtr="0"/>
          <a:lstStyle>
            <a:lvl1pPr>
              <a:defRPr sz="7058"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518940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81"/>
            <a:ext cx="9860673" cy="1793881"/>
          </a:xfrm>
          <a:noFill/>
        </p:spPr>
        <p:txBody>
          <a:bodyPr lIns="182814" tIns="146252" rIns="182814" bIns="146252">
            <a:noAutofit/>
          </a:bodyPr>
          <a:lstStyle>
            <a:lvl1pPr marL="0" indent="0">
              <a:spcBef>
                <a:spcPts val="0"/>
              </a:spcBef>
              <a:buNone/>
              <a:defRPr sz="3431"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469607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2475919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904642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82121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704275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08879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092025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48852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20" tIns="143377" rIns="179220" bIns="143377" numCol="1" spcCol="0" rtlCol="0" fromWordArt="0" anchor="t" anchorCtr="0" forceAA="0" compatLnSpc="1">
            <a:prstTxWarp prst="textNoShape">
              <a:avLst/>
            </a:prstTxWarp>
            <a:noAutofit/>
          </a:bodyPr>
          <a:lstStyle/>
          <a:p>
            <a:pPr algn="ctr" defTabSz="91377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8"/>
            <a:ext cx="9859116" cy="2697988"/>
          </a:xfrm>
          <a:noFill/>
        </p:spPr>
        <p:txBody>
          <a:bodyPr tIns="91409" bIns="91409" anchor="t" anchorCtr="0"/>
          <a:lstStyle>
            <a:lvl1pPr>
              <a:defRPr sz="7058" spc="-99"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94861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4C02E3B-13C9-4CAA-A64E-7AB14231C6B3}" type="datetimeFigureOut">
              <a:rPr lang="en-US" smtClean="0"/>
              <a:t>4/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41187159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65301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647001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744590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09" bIns="91409" anchor="t" anchorCtr="0"/>
          <a:lstStyle>
            <a:lvl1pPr>
              <a:defRPr sz="8529" spc="-99"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00159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38805"/>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4015" indent="0">
              <a:buNone/>
              <a:defRPr/>
            </a:lvl3pPr>
            <a:lvl4pPr marL="448029" indent="0">
              <a:buNone/>
              <a:defRPr/>
            </a:lvl4pPr>
            <a:lvl5pPr marL="67204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818118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6"/>
            <a:ext cx="11653523" cy="20217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5294"/>
            </a:lvl1pPr>
          </a:lstStyle>
          <a:p>
            <a:r>
              <a:rPr lang="en-US" smtClean="0"/>
              <a:t>Click to edit Master title style</a:t>
            </a:r>
            <a:endParaRPr lang="en-US" dirty="0"/>
          </a:p>
        </p:txBody>
      </p:sp>
    </p:spTree>
    <p:extLst>
      <p:ext uri="{BB962C8B-B14F-4D97-AF65-F5344CB8AC3E}">
        <p14:creationId xmlns:p14="http://schemas.microsoft.com/office/powerpoint/2010/main" val="208498782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359773"/>
          </a:xfrm>
        </p:spPr>
        <p:txBody>
          <a:bodyPr wrap="square">
            <a:spAutoFit/>
          </a:bodyPr>
          <a:lstStyle>
            <a:lvl1pPr marL="0" indent="0">
              <a:spcBef>
                <a:spcPts val="1200"/>
              </a:spcBef>
              <a:buClr>
                <a:schemeClr val="tx1"/>
              </a:buClr>
              <a:buFont typeface="Wingdings" pitchFamily="2" charset="2"/>
              <a:buNone/>
              <a:defRPr sz="3431"/>
            </a:lvl1pPr>
            <a:lvl2pPr marL="0" indent="0">
              <a:buNone/>
              <a:defRPr sz="1863"/>
            </a:lvl2pPr>
            <a:lvl3pPr marL="227126" indent="0">
              <a:buNone/>
              <a:tabLst/>
              <a:defRPr sz="1863"/>
            </a:lvl3pPr>
            <a:lvl4pPr marL="451143" indent="0">
              <a:buNone/>
              <a:defRPr/>
            </a:lvl4pPr>
            <a:lvl5pPr marL="67204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070173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69244"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9"/>
            <a:ext cx="5378548" cy="2442760"/>
          </a:xfrm>
        </p:spPr>
        <p:txBody>
          <a:bodyPr wrap="square">
            <a:spAutoFit/>
          </a:bodyPr>
          <a:lstStyle>
            <a:lvl1pPr marL="281576" indent="-281576">
              <a:spcBef>
                <a:spcPts val="1200"/>
              </a:spcBef>
              <a:buClr>
                <a:schemeClr val="tx1"/>
              </a:buClr>
              <a:buFont typeface="Arial" pitchFamily="34" charset="0"/>
              <a:buChar char="•"/>
              <a:defRPr sz="3431"/>
            </a:lvl1pPr>
            <a:lvl2pPr marL="520513" indent="-228519">
              <a:defRPr sz="2353"/>
            </a:lvl2pPr>
            <a:lvl3pPr marL="685555" indent="-165042">
              <a:tabLst/>
              <a:defRPr sz="1863"/>
            </a:lvl3pPr>
            <a:lvl4pPr marL="863290" indent="-177736">
              <a:defRPr/>
            </a:lvl4pPr>
            <a:lvl5pPr marL="1028331" indent="-16504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620971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294"/>
            </a:lvl1pPr>
          </a:lstStyle>
          <a:p>
            <a:r>
              <a:rPr lang="en-US" smtClean="0"/>
              <a:t>Click to edit Master title style</a:t>
            </a:r>
            <a:endParaRPr lang="en-US"/>
          </a:p>
        </p:txBody>
      </p:sp>
    </p:spTree>
    <p:extLst>
      <p:ext uri="{BB962C8B-B14F-4D97-AF65-F5344CB8AC3E}">
        <p14:creationId xmlns:p14="http://schemas.microsoft.com/office/powerpoint/2010/main" val="413302747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4117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4C02E3B-13C9-4CAA-A64E-7AB14231C6B3}" type="datetimeFigureOut">
              <a:rPr lang="en-US" smtClean="0"/>
              <a:t>4/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14659285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4762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1651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27019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94489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9003"/>
          </a:xfrm>
          <a:prstGeom prst="rect">
            <a:avLst/>
          </a:prstGeom>
        </p:spPr>
        <p:txBody>
          <a:bodyPr/>
          <a:lstStyle>
            <a:lvl1pPr marL="284688" indent="-284688">
              <a:buClr>
                <a:schemeClr val="tx1"/>
              </a:buClr>
              <a:buSzPct val="90000"/>
              <a:buFont typeface="Arial" pitchFamily="34" charset="0"/>
              <a:buChar char="•"/>
              <a:defRPr sz="343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9" indent="-275353">
              <a:buClr>
                <a:schemeClr val="tx1"/>
              </a:buClr>
              <a:buSzPct val="90000"/>
              <a:buFont typeface="Arial" pitchFamily="34" charset="0"/>
              <a:buChar char="•"/>
              <a:defRPr sz="32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26" indent="-284688">
              <a:buClr>
                <a:schemeClr val="tx1"/>
              </a:buClr>
              <a:buSzPct val="90000"/>
              <a:buFont typeface="Arial" pitchFamily="34" charset="0"/>
              <a:buChar char="•"/>
              <a:defRPr sz="28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41" indent="-224015">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56" indent="-224015">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6"/>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529"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116314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6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2"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432" tIns="45715" rIns="91432" bIns="45715" rtlCol="0" anchor="ctr"/>
          <a:lstStyle>
            <a:lvl1pPr algn="r">
              <a:defRPr sz="980">
                <a:solidFill>
                  <a:schemeClr val="tx1">
                    <a:tint val="75000"/>
                  </a:schemeClr>
                </a:solidFill>
              </a:defRPr>
            </a:lvl1pPr>
          </a:lstStyle>
          <a:p>
            <a:pPr defTabSz="457200"/>
            <a:fld id="{FFB82908-4842-4340-9D73-01C813DDC308}" type="slidenum">
              <a:rPr lang="en-US" smtClean="0">
                <a:solidFill>
                  <a:srgbClr val="505050">
                    <a:tint val="75000"/>
                  </a:srgbClr>
                </a:solidFill>
              </a:rPr>
              <a:pPr defTabSz="457200"/>
              <a:t>‹#›</a:t>
            </a:fld>
            <a:endParaRPr lang="en-US" dirty="0">
              <a:solidFill>
                <a:srgbClr val="505050">
                  <a:tint val="75000"/>
                </a:srgbClr>
              </a:solidFill>
            </a:endParaRPr>
          </a:p>
        </p:txBody>
      </p:sp>
    </p:spTree>
    <p:extLst>
      <p:ext uri="{BB962C8B-B14F-4D97-AF65-F5344CB8AC3E}">
        <p14:creationId xmlns:p14="http://schemas.microsoft.com/office/powerpoint/2010/main" val="75956579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8" cy="810478"/>
          </a:xfrm>
          <a:prstGeom prst="rect">
            <a:avLst/>
          </a:prstGeom>
          <a:noFill/>
        </p:spPr>
        <p:txBody>
          <a:bodyPr wrap="square" rtlCol="0">
            <a:spAutoFit/>
          </a:bodyPr>
          <a:lstStyle/>
          <a:p>
            <a:pPr defTabSz="914332">
              <a:lnSpc>
                <a:spcPts val="1413"/>
              </a:lnSpc>
            </a:pPr>
            <a:r>
              <a:rPr lang="en-US" sz="1067" dirty="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977660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en-US" smtClean="0"/>
              <a:t>Click to edit Master title styl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rot="5400000">
            <a:off x="10155639" y="1790701"/>
            <a:ext cx="990599" cy="304799"/>
          </a:xfrm>
          <a:prstGeom prst="rect">
            <a:avLst/>
          </a:prstGeom>
        </p:spPr>
        <p:txBody>
          <a:bodyPr/>
          <a:lstStyle/>
          <a:p>
            <a:pPr defTabSz="457200"/>
            <a:fld id="{4AAD347D-5ACD-4C99-B74B-A9C85AD731AF}" type="datetimeFigureOut">
              <a:rPr lang="en-US" dirty="0">
                <a:solidFill>
                  <a:srgbClr val="505050"/>
                </a:solidFill>
              </a:rPr>
              <a:pPr defTabSz="457200"/>
              <a:t>4/5/2015</a:t>
            </a:fld>
            <a:endParaRPr lang="en-US" dirty="0">
              <a:solidFill>
                <a:srgbClr val="505050"/>
              </a:solidFill>
            </a:endParaRPr>
          </a:p>
        </p:txBody>
      </p:sp>
      <p:sp>
        <p:nvSpPr>
          <p:cNvPr id="5" name="Footer Placeholder 4"/>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6" name="Slide Number Placeholder 5"/>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407842296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White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4" name="TextBox 3"/>
          <p:cNvSpPr txBox="1"/>
          <p:nvPr userDrawn="1"/>
        </p:nvSpPr>
        <p:spPr>
          <a:xfrm>
            <a:off x="11856659" y="6583703"/>
            <a:ext cx="157136" cy="153888"/>
          </a:xfrm>
          <a:prstGeom prst="rect">
            <a:avLst/>
          </a:prstGeom>
          <a:noFill/>
        </p:spPr>
        <p:txBody>
          <a:bodyPr wrap="none" lIns="0" tIns="0" rIns="0" bIns="0" rtlCol="0">
            <a:spAutoFit/>
          </a:bodyPr>
          <a:lstStyle/>
          <a:p>
            <a:pPr algn="r" defTabSz="457200"/>
            <a:fld id="{BAAF4389-025E-448A-AEEE-02333ADE33C4}" type="slidenum">
              <a:rPr lang="en-US" sz="1000">
                <a:gradFill>
                  <a:gsLst>
                    <a:gs pos="2917">
                      <a:srgbClr val="505050"/>
                    </a:gs>
                    <a:gs pos="30000">
                      <a:srgbClr val="505050"/>
                    </a:gs>
                  </a:gsLst>
                  <a:lin ang="5400000" scaled="0"/>
                </a:gradFill>
              </a:rPr>
              <a:pPr algn="r" defTabSz="457200"/>
              <a:t>‹#›</a:t>
            </a:fld>
            <a:endParaRPr lang="en-US" sz="1000" dirty="0">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68338858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099971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4C02E3B-13C9-4CAA-A64E-7AB14231C6B3}" type="datetimeFigureOut">
              <a:rPr lang="en-US" smtClean="0"/>
              <a:t>4/5/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3371385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Sub_1 Column">
    <p:spTree>
      <p:nvGrpSpPr>
        <p:cNvPr id="1" name=""/>
        <p:cNvGrpSpPr/>
        <p:nvPr/>
      </p:nvGrpSpPr>
      <p:grpSpPr>
        <a:xfrm>
          <a:off x="0" y="0"/>
          <a:ext cx="0" cy="0"/>
          <a:chOff x="0" y="0"/>
          <a:chExt cx="0" cy="0"/>
        </a:xfrm>
      </p:grpSpPr>
      <p:sp>
        <p:nvSpPr>
          <p:cNvPr id="17" name="Text Placeholder 14"/>
          <p:cNvSpPr>
            <a:spLocks noGrp="1"/>
          </p:cNvSpPr>
          <p:nvPr>
            <p:ph type="body" sz="quarter" idx="10" hasCustomPrompt="1"/>
          </p:nvPr>
        </p:nvSpPr>
        <p:spPr>
          <a:xfrm>
            <a:off x="698193" y="809568"/>
            <a:ext cx="11164801" cy="304699"/>
          </a:xfrm>
          <a:prstGeom prst="rect">
            <a:avLst/>
          </a:prstGeom>
        </p:spPr>
        <p:txBody>
          <a:bodyPr lIns="0" tIns="0" rIns="0" bIns="0"/>
          <a:lstStyle>
            <a:lvl1pPr marL="0" indent="0">
              <a:buFontTx/>
              <a:buNone/>
              <a:defRPr sz="2200" spc="-115">
                <a:solidFill>
                  <a:schemeClr val="accent2">
                    <a:lumMod val="20000"/>
                    <a:lumOff val="80000"/>
                  </a:schemeClr>
                </a:solidFill>
                <a:latin typeface="Segoe UI" pitchFamily="34" charset="0"/>
                <a:ea typeface="Segoe UI" pitchFamily="34" charset="0"/>
                <a:cs typeface="Segoe UI"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a:srcRect l="10118" t="62265" r="58499" b="11268"/>
          <a:stretch/>
        </p:blipFill>
        <p:spPr>
          <a:xfrm>
            <a:off x="213872" y="6347641"/>
            <a:ext cx="1013603" cy="357963"/>
          </a:xfrm>
          <a:prstGeom prst="rect">
            <a:avLst/>
          </a:prstGeom>
        </p:spPr>
      </p:pic>
      <p:sp>
        <p:nvSpPr>
          <p:cNvPr id="5" name="Title 1"/>
          <p:cNvSpPr>
            <a:spLocks noGrp="1"/>
          </p:cNvSpPr>
          <p:nvPr>
            <p:ph type="title"/>
          </p:nvPr>
        </p:nvSpPr>
        <p:spPr>
          <a:xfrm>
            <a:off x="609600" y="274638"/>
            <a:ext cx="10972801" cy="563562"/>
          </a:xfrm>
        </p:spPr>
        <p:txBody>
          <a:bodyPr>
            <a:normAutofit/>
          </a:bodyPr>
          <a:lstStyle>
            <a:lvl1pPr>
              <a:defRPr sz="2700">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7474437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609600" y="274638"/>
            <a:ext cx="10972801" cy="914544"/>
          </a:xfrm>
          <a:prstGeom prst="rect">
            <a:avLst/>
          </a:prstGeom>
        </p:spPr>
        <p:txBody>
          <a:bodyPr lIns="0" tIns="0" rIns="0" bIns="0" anchor="ctr">
            <a:normAutofit/>
          </a:bodyPr>
          <a:lstStyle>
            <a:lvl1pPr>
              <a:defRPr>
                <a:solidFill>
                  <a:srgbClr val="58D1FF"/>
                </a:solidFill>
                <a:effectLst/>
                <a:latin typeface="Segoe"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0533708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rot="5400000">
            <a:off x="10155639" y="1790701"/>
            <a:ext cx="990599" cy="304799"/>
          </a:xfrm>
          <a:prstGeom prst="rect">
            <a:avLst/>
          </a:prstGeom>
        </p:spPr>
        <p:txBody>
          <a:bodyPr/>
          <a:lstStyle/>
          <a:p>
            <a:pPr defTabSz="457200"/>
            <a:fld id="{9796027F-7875-4030-9381-8BD8C4F21935}" type="datetimeFigureOut">
              <a:rPr lang="en-US" dirty="0">
                <a:solidFill>
                  <a:srgbClr val="505050"/>
                </a:solidFill>
              </a:rPr>
              <a:pPr defTabSz="457200"/>
              <a:t>4/5/2015</a:t>
            </a:fld>
            <a:endParaRPr lang="en-US" dirty="0">
              <a:solidFill>
                <a:srgbClr val="505050"/>
              </a:solidFill>
            </a:endParaRPr>
          </a:p>
        </p:txBody>
      </p:sp>
      <p:sp>
        <p:nvSpPr>
          <p:cNvPr id="6" name="Footer Placeholder 5"/>
          <p:cNvSpPr>
            <a:spLocks noGrp="1"/>
          </p:cNvSpPr>
          <p:nvPr>
            <p:ph type="ftr" sz="quarter" idx="11"/>
          </p:nvPr>
        </p:nvSpPr>
        <p:spPr>
          <a:xfrm rot="5400000">
            <a:off x="8951573" y="3225297"/>
            <a:ext cx="3859795" cy="304801"/>
          </a:xfrm>
          <a:prstGeom prst="rect">
            <a:avLst/>
          </a:prstGeom>
        </p:spPr>
        <p:txBody>
          <a:bodyPr/>
          <a:lstStyle/>
          <a:p>
            <a:pPr defTabSz="457200"/>
            <a:endParaRPr lang="en-US" dirty="0">
              <a:solidFill>
                <a:srgbClr val="505050"/>
              </a:solidFill>
            </a:endParaRPr>
          </a:p>
        </p:txBody>
      </p:sp>
      <p:sp>
        <p:nvSpPr>
          <p:cNvPr id="7" name="Slide Number Placeholder 6"/>
          <p:cNvSpPr>
            <a:spLocks noGrp="1"/>
          </p:cNvSpPr>
          <p:nvPr>
            <p:ph type="sldNum" sz="quarter" idx="12"/>
          </p:nvPr>
        </p:nvSpPr>
        <p:spPr>
          <a:xfrm>
            <a:off x="10352540" y="295729"/>
            <a:ext cx="838199" cy="767687"/>
          </a:xfrm>
          <a:prstGeom prst="rect">
            <a:avLst/>
          </a:prstGeom>
        </p:spPr>
        <p:txBody>
          <a:bodyPr/>
          <a:lstStyle/>
          <a:p>
            <a:pPr defTabSz="457200"/>
            <a:fld id="{D57F1E4F-1CFF-5643-939E-02111984F565}" type="slidenum">
              <a:rPr lang="en-US" dirty="0">
                <a:solidFill>
                  <a:srgbClr val="505050"/>
                </a:solidFill>
              </a:rPr>
              <a:pPr defTabSz="457200"/>
              <a:t>‹#›</a:t>
            </a:fld>
            <a:endParaRPr lang="en-US" dirty="0">
              <a:solidFill>
                <a:srgbClr val="505050"/>
              </a:solidFill>
            </a:endParaRPr>
          </a:p>
        </p:txBody>
      </p:sp>
    </p:spTree>
    <p:extLst>
      <p:ext uri="{BB962C8B-B14F-4D97-AF65-F5344CB8AC3E}">
        <p14:creationId xmlns:p14="http://schemas.microsoft.com/office/powerpoint/2010/main" val="21315494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21114"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496087" y="2115608"/>
            <a:ext cx="5378548" cy="2051844"/>
          </a:xfrm>
        </p:spPr>
        <p:txBody>
          <a:bodyPr wrap="square">
            <a:spAutoFit/>
          </a:bodyPr>
          <a:lstStyle>
            <a:lvl1pPr marL="0" indent="0">
              <a:spcBef>
                <a:spcPts val="1200"/>
              </a:spcBef>
              <a:buClr>
                <a:schemeClr val="tx2"/>
              </a:buClr>
              <a:buFont typeface="Arial" pitchFamily="34" charset="0"/>
              <a:buNone/>
              <a:defRPr sz="2800">
                <a:gradFill>
                  <a:gsLst>
                    <a:gs pos="1250">
                      <a:schemeClr val="tx2"/>
                    </a:gs>
                    <a:gs pos="99000">
                      <a:schemeClr val="tx2"/>
                    </a:gs>
                  </a:gsLst>
                  <a:lin ang="5400000" scaled="0"/>
                </a:gradFill>
              </a:defRPr>
            </a:lvl1pPr>
            <a:lvl2pPr marL="520702" indent="-228601">
              <a:defRPr sz="1800"/>
            </a:lvl2pPr>
            <a:lvl3pPr marL="685803" indent="-165101">
              <a:tabLst/>
              <a:defRPr sz="1800"/>
            </a:lvl3pPr>
            <a:lvl4pPr marL="863603" indent="-177801">
              <a:defRPr sz="1400"/>
            </a:lvl4pPr>
            <a:lvl5pPr marL="1028704" indent="-165101">
              <a:tabLst/>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2484329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4" y="1447803"/>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5953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096623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3"/>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2" y="1447803"/>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845746002"/>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pPr/>
              <a:t>‹#›</a:t>
            </a:fld>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021216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de">
    <p:bg>
      <p:bgPr>
        <a:solidFill>
          <a:schemeClr val="bg1">
            <a:lumMod val="95000"/>
          </a:schemeClr>
        </a:solid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579512" y="1903177"/>
            <a:ext cx="10972800" cy="4380263"/>
          </a:xfrm>
          <a:prstGeom prst="rect">
            <a:avLst/>
          </a:prstGeom>
        </p:spPr>
        <p:txBody>
          <a:bodyPr>
            <a:normAutofit/>
          </a:bodyPr>
          <a:lstStyle>
            <a:lvl1pPr marL="0" indent="0">
              <a:buClr>
                <a:schemeClr val="accent3"/>
              </a:buClr>
              <a:buFontTx/>
              <a:buNone/>
              <a:defRPr sz="2667">
                <a:solidFill>
                  <a:schemeClr val="tx1">
                    <a:lumMod val="75000"/>
                    <a:lumOff val="25000"/>
                  </a:schemeClr>
                </a:solidFill>
                <a:latin typeface="Consolas"/>
                <a:cs typeface="Consolas"/>
              </a:defRPr>
            </a:lvl1pPr>
            <a:lvl2pPr marL="0" indent="0">
              <a:buClr>
                <a:schemeClr val="accent3"/>
              </a:buClr>
              <a:buFontTx/>
              <a:buNone/>
              <a:defRPr sz="2400">
                <a:solidFill>
                  <a:schemeClr val="tx1">
                    <a:lumMod val="75000"/>
                    <a:lumOff val="25000"/>
                  </a:schemeClr>
                </a:solidFill>
                <a:latin typeface="Consolas"/>
                <a:cs typeface="Consolas"/>
              </a:defRPr>
            </a:lvl2pPr>
            <a:lvl3pPr marL="393690" indent="0">
              <a:buClr>
                <a:schemeClr val="accent3"/>
              </a:buClr>
              <a:buFontTx/>
              <a:buNone/>
              <a:defRPr sz="2133">
                <a:solidFill>
                  <a:schemeClr val="tx1">
                    <a:lumMod val="75000"/>
                    <a:lumOff val="25000"/>
                  </a:schemeClr>
                </a:solidFill>
                <a:latin typeface="Consolas"/>
                <a:cs typeface="Consolas"/>
              </a:defRPr>
            </a:lvl3pPr>
            <a:lvl4pPr marL="772565" indent="0">
              <a:buClr>
                <a:schemeClr val="accent3"/>
              </a:buClr>
              <a:buFontTx/>
              <a:buNone/>
              <a:defRPr sz="2133">
                <a:solidFill>
                  <a:schemeClr val="tx1">
                    <a:lumMod val="75000"/>
                    <a:lumOff val="25000"/>
                  </a:schemeClr>
                </a:solidFill>
                <a:latin typeface="Consolas"/>
                <a:cs typeface="Consolas"/>
              </a:defRPr>
            </a:lvl4pPr>
            <a:lvl5pPr marL="1128156" indent="0">
              <a:buClr>
                <a:schemeClr val="accent3"/>
              </a:buClr>
              <a:buFontTx/>
              <a:buNone/>
              <a:defRPr sz="2133">
                <a:solidFill>
                  <a:schemeClr val="tx1">
                    <a:lumMod val="75000"/>
                    <a:lumOff val="25000"/>
                  </a:schemeClr>
                </a:solidFill>
                <a:latin typeface="Consolas"/>
                <a:cs typeface="Consola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nchor="t"/>
          <a:lstStyle/>
          <a:p>
            <a:r>
              <a:rPr lang="en-US" smtClean="0"/>
              <a:t>Click to edit Master title style</a:t>
            </a:r>
            <a:endParaRPr lang="en-US"/>
          </a:p>
        </p:txBody>
      </p:sp>
      <p:pic>
        <p:nvPicPr>
          <p:cNvPr id="5"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1" y="6527029"/>
            <a:ext cx="12192001" cy="138547"/>
          </a:xfrm>
          <a:prstGeom prst="rect">
            <a:avLst/>
          </a:prstGeom>
        </p:spPr>
      </p:pic>
      <p:sp>
        <p:nvSpPr>
          <p:cNvPr id="7" name="Rectangle 6"/>
          <p:cNvSpPr/>
          <p:nvPr userDrawn="1"/>
        </p:nvSpPr>
        <p:spPr>
          <a:xfrm>
            <a:off x="144401" y="6392050"/>
            <a:ext cx="551348" cy="4659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PASS_Logo_gray.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536" y="6521727"/>
            <a:ext cx="371075" cy="296895"/>
          </a:xfrm>
          <a:prstGeom prst="rect">
            <a:avLst/>
          </a:prstGeom>
        </p:spPr>
      </p:pic>
    </p:spTree>
    <p:extLst>
      <p:ext uri="{BB962C8B-B14F-4D97-AF65-F5344CB8AC3E}">
        <p14:creationId xmlns:p14="http://schemas.microsoft.com/office/powerpoint/2010/main" val="9034570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pPr/>
              <a:t>‹#›</a:t>
            </a:fld>
            <a:endParaRPr lang="en-US" dirty="0"/>
          </a:p>
        </p:txBody>
      </p:sp>
      <p:sp>
        <p:nvSpPr>
          <p:cNvPr id="8" name="Text Placeholder 2"/>
          <p:cNvSpPr>
            <a:spLocks noGrp="1"/>
          </p:cNvSpPr>
          <p:nvPr>
            <p:ph idx="1" hasCustomPrompt="1"/>
          </p:nvPr>
        </p:nvSpPr>
        <p:spPr>
          <a:xfrm>
            <a:off x="579512" y="1816516"/>
            <a:ext cx="10972800" cy="4201283"/>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rgbClr val="0084CC"/>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smtClean="0">
                <a:solidFill>
                  <a:schemeClr val="accent4"/>
                </a:solidFill>
              </a:rPr>
              <a:t>Heading One Style </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dirty="0" smtClean="0">
              <a:solidFill>
                <a:schemeClr val="tx1">
                  <a:lumMod val="65000"/>
                  <a:lumOff val="35000"/>
                </a:schemeClr>
              </a:solidFill>
            </a:endParaRPr>
          </a:p>
          <a:p>
            <a:pPr marL="393690" lvl="2" indent="-393690">
              <a:buNone/>
            </a:pPr>
            <a:r>
              <a:rPr lang="en-US" sz="2667" dirty="0" smtClean="0">
                <a:solidFill>
                  <a:schemeClr val="accent6"/>
                </a:solidFill>
              </a:rPr>
              <a:t>Heading Two Style</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sz="2667" dirty="0" smtClean="0">
              <a:solidFill>
                <a:schemeClr val="accent3"/>
              </a:solidFill>
            </a:endParaRPr>
          </a:p>
          <a:p>
            <a:pPr marL="393690" lvl="2" indent="-393690">
              <a:buNone/>
            </a:pPr>
            <a:r>
              <a:rPr lang="en-US" b="1" dirty="0" smtClean="0">
                <a:solidFill>
                  <a:schemeClr val="accent1"/>
                </a:solidFill>
              </a:rPr>
              <a:t>HEADING THREE STYLE</a:t>
            </a:r>
          </a:p>
          <a:p>
            <a:pPr marL="393690" lvl="2" indent="-393690">
              <a:buNone/>
            </a:pPr>
            <a:r>
              <a:rPr lang="en-US" dirty="0" smtClean="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35327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4C02E3B-13C9-4CAA-A64E-7AB14231C6B3}" type="datetimeFigureOut">
              <a:rPr lang="en-US" smtClean="0"/>
              <a:t>4/5/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1364162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9" y="0"/>
            <a:ext cx="12192000" cy="6858973"/>
          </a:xfrm>
          <a:prstGeom prst="rect">
            <a:avLst/>
          </a:prstGeom>
        </p:spPr>
      </p:pic>
      <p:sp>
        <p:nvSpPr>
          <p:cNvPr id="12" name="Rectangle 11"/>
          <p:cNvSpPr/>
          <p:nvPr userDrawn="1"/>
        </p:nvSpPr>
        <p:spPr bwMode="auto">
          <a:xfrm>
            <a:off x="1" y="2"/>
            <a:ext cx="6053736" cy="6869648"/>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2" rIns="0" bIns="45702" anchor="ctr"/>
          <a:lstStyle/>
          <a:p>
            <a:pPr algn="ctr" defTabSz="913741" fontAlgn="base">
              <a:spcBef>
                <a:spcPct val="0"/>
              </a:spcBef>
              <a:spcAft>
                <a:spcPct val="0"/>
              </a:spcAft>
              <a:defRPr/>
            </a:pPr>
            <a:endParaRPr lang="en-US" sz="1960"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69241" y="1428403"/>
            <a:ext cx="5487085" cy="897667"/>
          </a:xfrm>
        </p:spPr>
        <p:txBody>
          <a:bodyPr/>
          <a:lstStyle>
            <a:lvl1pPr>
              <a:defRPr sz="5096">
                <a:solidFill>
                  <a:schemeClr val="bg1"/>
                </a:solidFill>
              </a:defRPr>
            </a:lvl1pPr>
          </a:lstStyle>
          <a:p>
            <a:r>
              <a:rPr lang="en-US" smtClean="0"/>
              <a:t>Click to edit Master title sty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034" y="323268"/>
            <a:ext cx="1576536" cy="580001"/>
          </a:xfrm>
          <a:prstGeom prst="rect">
            <a:avLst/>
          </a:prstGeom>
        </p:spPr>
      </p:pic>
    </p:spTree>
    <p:extLst>
      <p:ext uri="{BB962C8B-B14F-4D97-AF65-F5344CB8AC3E}">
        <p14:creationId xmlns:p14="http://schemas.microsoft.com/office/powerpoint/2010/main" val="237981311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6">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1314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783066105"/>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p:txBody>
          <a:bodyPr/>
          <a:lstStyle>
            <a:lvl1pPr defTabSz="91314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16854240"/>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6" name="Text Placeholder 8"/>
          <p:cNvSpPr>
            <a:spLocks noGrp="1"/>
          </p:cNvSpPr>
          <p:nvPr>
            <p:ph type="body" sz="quarter" idx="12"/>
          </p:nvPr>
        </p:nvSpPr>
        <p:spPr>
          <a:xfrm>
            <a:off x="269239" y="291070"/>
            <a:ext cx="10757098" cy="888769"/>
          </a:xfrm>
          <a:prstGeom prst="rect">
            <a:avLst/>
          </a:prstGeom>
          <a:noFill/>
        </p:spPr>
        <p:txBody>
          <a:bodyPr/>
          <a:lstStyle>
            <a:lvl1pPr marL="0" indent="0">
              <a:lnSpc>
                <a:spcPts val="5391"/>
              </a:lnSpc>
              <a:spcBef>
                <a:spcPts val="0"/>
              </a:spcBef>
              <a:buFontTx/>
              <a:buNone/>
              <a:defRPr sz="5097">
                <a:solidFill>
                  <a:schemeClr val="tx2"/>
                </a:solidFill>
                <a:latin typeface="+mj-lt"/>
              </a:defRPr>
            </a:lvl1pPr>
            <a:lvl2pPr marL="0" indent="0">
              <a:lnSpc>
                <a:spcPts val="2549"/>
              </a:lnSpc>
              <a:spcBef>
                <a:spcPts val="1765"/>
              </a:spcBef>
              <a:spcAft>
                <a:spcPts val="0"/>
              </a:spcAft>
              <a:buFontTx/>
              <a:buNone/>
              <a:defRPr sz="5293">
                <a:solidFill>
                  <a:schemeClr val="tx2"/>
                </a:solidFill>
                <a:latin typeface="+mj-lt"/>
              </a:defRPr>
            </a:lvl2pPr>
            <a:lvl3pPr marL="225609" indent="-224054">
              <a:lnSpc>
                <a:spcPts val="2647"/>
              </a:lnSpc>
              <a:spcBef>
                <a:spcPts val="0"/>
              </a:spcBef>
              <a:defRPr sz="1961">
                <a:solidFill>
                  <a:schemeClr val="bg1"/>
                </a:solidFill>
              </a:defRPr>
            </a:lvl3pPr>
            <a:lvl4pPr marL="225609" indent="-224054">
              <a:lnSpc>
                <a:spcPts val="2647"/>
              </a:lnSpc>
              <a:spcBef>
                <a:spcPts val="0"/>
              </a:spcBef>
              <a:defRPr sz="1961">
                <a:solidFill>
                  <a:schemeClr val="bg1"/>
                </a:solidFill>
              </a:defRPr>
            </a:lvl4pPr>
            <a:lvl5pPr marL="225609" indent="-224054">
              <a:lnSpc>
                <a:spcPts val="2647"/>
              </a:lnSpc>
              <a:spcBef>
                <a:spcPts val="0"/>
              </a:spcBef>
              <a:defRPr sz="1961">
                <a:solidFill>
                  <a:schemeClr val="bg1"/>
                </a:solidFill>
              </a:defRPr>
            </a:lvl5pPr>
          </a:lstStyle>
          <a:p>
            <a:pPr lvl="0"/>
            <a:r>
              <a:rPr lang="en-US" dirty="0" smtClean="0"/>
              <a:t>Click to edit Master text styles</a:t>
            </a:r>
          </a:p>
        </p:txBody>
      </p:sp>
      <p:sp>
        <p:nvSpPr>
          <p:cNvPr id="3" name="Footer Placeholder 2"/>
          <p:cNvSpPr>
            <a:spLocks noGrp="1"/>
          </p:cNvSpPr>
          <p:nvPr>
            <p:ph type="ftr" sz="quarter" idx="13"/>
          </p:nvPr>
        </p:nvSpPr>
        <p:spPr/>
        <p:txBody>
          <a:bodyPr/>
          <a:lstStyle>
            <a:lvl1pPr>
              <a:defRPr>
                <a:solidFill>
                  <a:srgbClr val="002050"/>
                </a:solidFill>
              </a:defRPr>
            </a:lvl1pPr>
          </a:lstStyle>
          <a:p>
            <a:pPr>
              <a:defRPr/>
            </a:pPr>
            <a:r>
              <a:t>Microsoft Confidential</a:t>
            </a:r>
          </a:p>
        </p:txBody>
      </p:sp>
      <p:sp>
        <p:nvSpPr>
          <p:cNvPr id="4" name="Slide Number Placeholder 3"/>
          <p:cNvSpPr>
            <a:spLocks noGrp="1"/>
          </p:cNvSpPr>
          <p:nvPr>
            <p:ph type="sldNum" sz="quarter" idx="14"/>
          </p:nvPr>
        </p:nvSpPr>
        <p:spPr/>
        <p:txBody>
          <a:bodyPr/>
          <a:lstStyle>
            <a:lvl1pPr>
              <a:defRPr>
                <a:solidFill>
                  <a:srgbClr val="002050"/>
                </a:solidFill>
              </a:defRPr>
            </a:lvl1pPr>
          </a:lstStyle>
          <a:p>
            <a:fld id="{373335F3-EBAD-4C58-ACFE-6976E0B158F7}" type="slidenum">
              <a:rPr/>
              <a:pPr/>
              <a:t>‹#›</a:t>
            </a:fld>
            <a:endParaRPr/>
          </a:p>
        </p:txBody>
      </p:sp>
    </p:spTree>
    <p:extLst>
      <p:ext uri="{BB962C8B-B14F-4D97-AF65-F5344CB8AC3E}">
        <p14:creationId xmlns:p14="http://schemas.microsoft.com/office/powerpoint/2010/main" val="122890084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44" tIns="38076" rIns="76144" bIns="38076" numCol="1" rtlCol="0" anchor="ctr" anchorCtr="0" compatLnSpc="1">
            <a:prstTxWarp prst="textNoShape">
              <a:avLst/>
            </a:prstTxWarp>
          </a:bodyPr>
          <a:lstStyle/>
          <a:p>
            <a:pPr algn="ctr" defTabSz="761164"/>
            <a:endParaRPr lang="en-US" sz="175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5531437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5464848"/>
            <a:ext cx="12192000" cy="1403312"/>
          </a:xfrm>
          <a:prstGeom prst="rect">
            <a:avLst/>
          </a:prstGeom>
        </p:spPr>
      </p:pic>
      <p:sp>
        <p:nvSpPr>
          <p:cNvPr id="20" name="Title 1"/>
          <p:cNvSpPr>
            <a:spLocks noGrp="1"/>
          </p:cNvSpPr>
          <p:nvPr>
            <p:ph type="ctrTitle" hasCustomPrompt="1"/>
          </p:nvPr>
        </p:nvSpPr>
        <p:spPr>
          <a:xfrm>
            <a:off x="5033819" y="3274173"/>
            <a:ext cx="6833627" cy="942209"/>
          </a:xfrm>
          <a:prstGeom prst="rect">
            <a:avLst/>
          </a:prstGeom>
        </p:spPr>
        <p:txBody>
          <a:bodyPr vert="horz" lIns="91440" tIns="45720" rIns="91440" bIns="45720" rtlCol="0" anchor="b" anchorCtr="0">
            <a:noAutofit/>
          </a:bodyPr>
          <a:lstStyle>
            <a:lvl1pPr algn="l">
              <a:defRPr lang="en-US" sz="5333" b="0" dirty="0">
                <a:solidFill>
                  <a:schemeClr val="tx2"/>
                </a:solidFill>
                <a:latin typeface="+mj-lt"/>
                <a:cs typeface="Segoe UI Light"/>
              </a:defRPr>
            </a:lvl1pPr>
          </a:lstStyle>
          <a:p>
            <a:pPr marL="0" lvl="0"/>
            <a:r>
              <a:rPr lang="en-CA" dirty="0" smtClean="0"/>
              <a:t>Session Title</a:t>
            </a:r>
            <a:endParaRPr lang="en-US" dirty="0"/>
          </a:p>
        </p:txBody>
      </p:sp>
      <p:sp>
        <p:nvSpPr>
          <p:cNvPr id="21" name="Subtitle 2"/>
          <p:cNvSpPr>
            <a:spLocks noGrp="1"/>
          </p:cNvSpPr>
          <p:nvPr>
            <p:ph type="subTitle" idx="1" hasCustomPrompt="1"/>
          </p:nvPr>
        </p:nvSpPr>
        <p:spPr>
          <a:xfrm>
            <a:off x="5034260" y="4212209"/>
            <a:ext cx="6834669" cy="604977"/>
          </a:xfrm>
          <a:prstGeom prst="rect">
            <a:avLst/>
          </a:prstGeom>
        </p:spPr>
        <p:txBody>
          <a:bodyPr vert="horz" lIns="91440" tIns="45720" rIns="91440" bIns="45720" rtlCol="0" anchor="t">
            <a:noAutofit/>
          </a:bodyPr>
          <a:lstStyle>
            <a:lvl1pPr algn="l">
              <a:defRPr lang="en-US" dirty="0">
                <a:solidFill>
                  <a:schemeClr val="accent1"/>
                </a:solidFill>
                <a:latin typeface="+mn-lt"/>
                <a:cs typeface="Segoe UI Light"/>
              </a:defRPr>
            </a:lvl1pPr>
          </a:lstStyle>
          <a:p>
            <a:pPr lvl="0"/>
            <a:r>
              <a:rPr lang="en-CA" dirty="0" smtClean="0"/>
              <a:t>Subtitle</a:t>
            </a:r>
            <a:endParaRPr lang="en-US" dirty="0"/>
          </a:p>
        </p:txBody>
      </p:sp>
    </p:spTree>
    <p:extLst>
      <p:ext uri="{BB962C8B-B14F-4D97-AF65-F5344CB8AC3E}">
        <p14:creationId xmlns:p14="http://schemas.microsoft.com/office/powerpoint/2010/main" val="1651411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solidFill>
                  <a:prstClr val="white"/>
                </a:solidFill>
              </a:rPr>
              <a:pPr/>
              <a:t>‹#›</a:t>
            </a:fld>
            <a:endParaRPr lang="en-US" dirty="0">
              <a:solidFill>
                <a:prstClr val="white"/>
              </a:solidFill>
            </a:endParaRPr>
          </a:p>
        </p:txBody>
      </p:sp>
      <p:sp>
        <p:nvSpPr>
          <p:cNvPr id="14" name="Content Placeholder 13"/>
          <p:cNvSpPr>
            <a:spLocks noGrp="1"/>
          </p:cNvSpPr>
          <p:nvPr>
            <p:ph sz="quarter" idx="10"/>
          </p:nvPr>
        </p:nvSpPr>
        <p:spPr>
          <a:xfrm>
            <a:off x="603251" y="1847274"/>
            <a:ext cx="10989733" cy="4310303"/>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71162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solidFill>
                  <a:prstClr val="white"/>
                </a:solidFill>
              </a:rPr>
              <a:pPr/>
              <a:t>‹#›</a:t>
            </a:fld>
            <a:endParaRPr lang="en-US" dirty="0">
              <a:solidFill>
                <a:prstClr val="white"/>
              </a:solidFill>
            </a:endParaRPr>
          </a:p>
        </p:txBody>
      </p:sp>
      <p:sp>
        <p:nvSpPr>
          <p:cNvPr id="8" name="Text Placeholder 2"/>
          <p:cNvSpPr>
            <a:spLocks noGrp="1"/>
          </p:cNvSpPr>
          <p:nvPr>
            <p:ph idx="1" hasCustomPrompt="1"/>
          </p:nvPr>
        </p:nvSpPr>
        <p:spPr>
          <a:xfrm>
            <a:off x="579512" y="1816516"/>
            <a:ext cx="10972800" cy="4201283"/>
          </a:xfrm>
          <a:prstGeom prst="rect">
            <a:avLst/>
          </a:prstGeom>
        </p:spPr>
        <p:txBody>
          <a:bodyPr vert="horz" lIns="91440" tIns="45720" rIns="91440" bIns="45720" rtlCol="0">
            <a:noAutofit/>
          </a:bodyPr>
          <a:lstStyle>
            <a:lvl1pPr marL="0" indent="0">
              <a:buNone/>
              <a:defRPr>
                <a:solidFill>
                  <a:srgbClr val="0084CC"/>
                </a:solidFill>
                <a:latin typeface="+mn-lt"/>
              </a:defRPr>
            </a:lvl1pPr>
            <a:lvl2pPr marL="457189" indent="-457189">
              <a:buClr>
                <a:schemeClr val="accent4"/>
              </a:buClr>
              <a:buFont typeface="Arial"/>
              <a:buChar char="•"/>
              <a:defRPr>
                <a:solidFill>
                  <a:schemeClr val="tx1">
                    <a:lumMod val="75000"/>
                    <a:lumOff val="25000"/>
                  </a:schemeClr>
                </a:solidFill>
                <a:latin typeface="+mn-lt"/>
              </a:defRPr>
            </a:lvl2pPr>
            <a:lvl3pPr marL="850879" indent="-457189">
              <a:buClr>
                <a:schemeClr val="accent4"/>
              </a:buClr>
              <a:buFont typeface="Arial"/>
              <a:buChar char="•"/>
              <a:defRPr sz="2400" b="0">
                <a:solidFill>
                  <a:srgbClr val="0084CC"/>
                </a:solidFill>
                <a:latin typeface="+mn-lt"/>
              </a:defRPr>
            </a:lvl3pPr>
            <a:lvl4pPr marL="1229753" indent="-457189">
              <a:buClr>
                <a:schemeClr val="accent4"/>
              </a:buClr>
              <a:buFont typeface="Arial"/>
              <a:buChar char="•"/>
              <a:defRPr>
                <a:solidFill>
                  <a:schemeClr val="tx1">
                    <a:lumMod val="75000"/>
                    <a:lumOff val="25000"/>
                  </a:schemeClr>
                </a:solidFill>
                <a:latin typeface="+mn-lt"/>
              </a:defRPr>
            </a:lvl4pPr>
            <a:lvl5pPr marL="1585344" indent="-457189">
              <a:buClr>
                <a:schemeClr val="accent4"/>
              </a:buClr>
              <a:buFont typeface="Arial"/>
              <a:buChar char="•"/>
              <a:defRPr>
                <a:solidFill>
                  <a:schemeClr val="tx1">
                    <a:lumMod val="75000"/>
                    <a:lumOff val="25000"/>
                  </a:schemeClr>
                </a:solidFill>
                <a:latin typeface="+mn-lt"/>
              </a:defRPr>
            </a:lvl5pPr>
          </a:lstStyle>
          <a:p>
            <a:pPr marL="393690" lvl="2" indent="-393690">
              <a:buNone/>
            </a:pPr>
            <a:r>
              <a:rPr lang="en-US" sz="3200" dirty="0" smtClean="0">
                <a:solidFill>
                  <a:schemeClr val="accent4"/>
                </a:solidFill>
              </a:rPr>
              <a:t>Heading One Style </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dirty="0" smtClean="0">
              <a:solidFill>
                <a:schemeClr val="tx1">
                  <a:lumMod val="65000"/>
                  <a:lumOff val="35000"/>
                </a:schemeClr>
              </a:solidFill>
            </a:endParaRPr>
          </a:p>
          <a:p>
            <a:pPr marL="393690" lvl="2" indent="-393690">
              <a:buNone/>
            </a:pPr>
            <a:r>
              <a:rPr lang="en-US" sz="2667" dirty="0" smtClean="0">
                <a:solidFill>
                  <a:schemeClr val="accent6"/>
                </a:solidFill>
              </a:rPr>
              <a:t>Heading Two Style</a:t>
            </a:r>
          </a:p>
          <a:p>
            <a:pPr marL="393690" lvl="2" indent="-393690">
              <a:buNone/>
            </a:pPr>
            <a:r>
              <a:rPr lang="en-US" dirty="0" smtClean="0">
                <a:solidFill>
                  <a:schemeClr val="tx1">
                    <a:lumMod val="65000"/>
                    <a:lumOff val="35000"/>
                  </a:schemeClr>
                </a:solidFill>
              </a:rPr>
              <a:t>Body content, 18pt Segoe UI (gray)</a:t>
            </a:r>
          </a:p>
          <a:p>
            <a:pPr marL="393690" lvl="2" indent="-393690">
              <a:buNone/>
            </a:pPr>
            <a:endParaRPr lang="en-US" sz="2667" dirty="0" smtClean="0">
              <a:solidFill>
                <a:schemeClr val="accent3"/>
              </a:solidFill>
            </a:endParaRPr>
          </a:p>
          <a:p>
            <a:pPr marL="393690" lvl="2" indent="-393690">
              <a:buNone/>
            </a:pPr>
            <a:r>
              <a:rPr lang="en-US" b="1" dirty="0" smtClean="0">
                <a:solidFill>
                  <a:schemeClr val="accent1"/>
                </a:solidFill>
              </a:rPr>
              <a:t>HEADING THREE STYLE</a:t>
            </a:r>
          </a:p>
          <a:p>
            <a:pPr marL="393690" lvl="2" indent="-393690">
              <a:buNone/>
            </a:pPr>
            <a:r>
              <a:rPr lang="en-US" dirty="0" smtClean="0">
                <a:solidFill>
                  <a:schemeClr val="tx1">
                    <a:lumMod val="65000"/>
                    <a:lumOff val="35000"/>
                  </a:schemeClr>
                </a:solidFill>
              </a:rPr>
              <a:t>Body content, 18pt Segoe UI (gray)</a:t>
            </a:r>
          </a:p>
          <a:p>
            <a:pPr marL="0" indent="0">
              <a:buNone/>
            </a:pP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46314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10" hasCustomPrompt="1"/>
          </p:nvPr>
        </p:nvSpPr>
        <p:spPr>
          <a:xfrm>
            <a:off x="602355"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13" name="Content Placeholder 5"/>
          <p:cNvSpPr>
            <a:spLocks noGrp="1"/>
          </p:cNvSpPr>
          <p:nvPr>
            <p:ph sz="quarter" idx="11" hasCustomPrompt="1"/>
          </p:nvPr>
        </p:nvSpPr>
        <p:spPr>
          <a:xfrm>
            <a:off x="6182661" y="1835306"/>
            <a:ext cx="5387812" cy="409575"/>
          </a:xfrm>
          <a:prstGeom prst="rect">
            <a:avLst/>
          </a:prstGeom>
          <a:solidFill>
            <a:schemeClr val="accent1"/>
          </a:solidFill>
          <a:ln>
            <a:noFill/>
          </a:ln>
        </p:spPr>
        <p:txBody>
          <a:bodyPr anchor="ctr">
            <a:noAutofit/>
          </a:bodyPr>
          <a:lstStyle>
            <a:lvl1pPr algn="ctr">
              <a:defRPr sz="3200">
                <a:solidFill>
                  <a:schemeClr val="bg1"/>
                </a:solidFill>
                <a:latin typeface="+mj-lt"/>
              </a:defRPr>
            </a:lvl1pPr>
          </a:lstStyle>
          <a:p>
            <a:pPr lvl="0"/>
            <a:r>
              <a:rPr lang="en-US" dirty="0" smtClean="0"/>
              <a:t>Title Here</a:t>
            </a:r>
            <a:endParaRPr lang="en-US" dirty="0"/>
          </a:p>
        </p:txBody>
      </p:sp>
      <p:sp>
        <p:nvSpPr>
          <p:cNvPr id="9" name="Content Placeholder 2"/>
          <p:cNvSpPr>
            <a:spLocks noGrp="1"/>
          </p:cNvSpPr>
          <p:nvPr>
            <p:ph sz="half" idx="12"/>
          </p:nvPr>
        </p:nvSpPr>
        <p:spPr>
          <a:xfrm>
            <a:off x="6184575" y="2338305"/>
            <a:ext cx="5384800" cy="4015651"/>
          </a:xfrm>
          <a:prstGeom prst="rect">
            <a:avLst/>
          </a:prstGeom>
        </p:spPr>
        <p:txBody>
          <a:bodyPr>
            <a:normAutofit/>
          </a:bodyPr>
          <a:lstStyle>
            <a:lvl1pPr marL="226478" indent="-226478">
              <a:spcAft>
                <a:spcPts val="800"/>
              </a:spcAft>
              <a:buClr>
                <a:schemeClr val="accent4"/>
              </a:buClr>
              <a:buFont typeface="Arial"/>
              <a:buChar char="•"/>
              <a:defRPr sz="2400">
                <a:solidFill>
                  <a:srgbClr val="595959"/>
                </a:solidFill>
                <a:latin typeface="+mn-lt"/>
                <a:cs typeface="Segoe"/>
              </a:defRPr>
            </a:lvl1pPr>
            <a:lvl2pPr marL="226478" indent="-226478">
              <a:spcAft>
                <a:spcPts val="800"/>
              </a:spcAft>
              <a:buClr>
                <a:schemeClr val="accent4"/>
              </a:buClr>
              <a:buFont typeface="Arial"/>
              <a:buChar char="•"/>
              <a:defRPr sz="2400">
                <a:solidFill>
                  <a:srgbClr val="595959"/>
                </a:solidFill>
                <a:latin typeface="+mn-lt"/>
                <a:cs typeface="Segoe"/>
              </a:defRPr>
            </a:lvl2pPr>
            <a:lvl3pPr marL="226478" indent="-226478">
              <a:spcAft>
                <a:spcPts val="800"/>
              </a:spcAft>
              <a:buClr>
                <a:schemeClr val="accent4"/>
              </a:buClr>
              <a:buFont typeface="Arial"/>
              <a:buChar char="•"/>
              <a:defRPr sz="2400">
                <a:solidFill>
                  <a:srgbClr val="595959"/>
                </a:solidFill>
                <a:latin typeface="+mn-lt"/>
                <a:cs typeface="Segoe"/>
              </a:defRPr>
            </a:lvl3pPr>
            <a:lvl4pPr marL="226478" indent="-226478">
              <a:spcAft>
                <a:spcPts val="800"/>
              </a:spcAft>
              <a:buClr>
                <a:schemeClr val="accent4"/>
              </a:buClr>
              <a:buFont typeface="Arial"/>
              <a:buChar char="•"/>
              <a:defRPr sz="2400">
                <a:solidFill>
                  <a:srgbClr val="595959"/>
                </a:solidFill>
                <a:latin typeface="+mn-lt"/>
                <a:cs typeface="Segoe"/>
              </a:defRPr>
            </a:lvl4pPr>
            <a:lvl5pPr marL="226478" indent="-226478">
              <a:spcAft>
                <a:spcPts val="800"/>
              </a:spcAft>
              <a:buClr>
                <a:schemeClr val="accent4"/>
              </a:buClr>
              <a:buFont typeface="Arial"/>
              <a:buChar char="•"/>
              <a:defRPr sz="2400">
                <a:solidFill>
                  <a:srgbClr val="595959"/>
                </a:solidFill>
                <a:latin typeface="+mn-lt"/>
                <a:cs typeface="Segoe"/>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694653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79512" y="6673686"/>
            <a:ext cx="660459" cy="194684"/>
          </a:xfrm>
          <a:prstGeom prst="rect">
            <a:avLst/>
          </a:prstGeom>
        </p:spPr>
        <p:txBody>
          <a:bodyPr vert="horz" lIns="91440" tIns="0" rIns="91440" bIns="45720" rtlCol="0" anchor="ctr"/>
          <a:lstStyle>
            <a:lvl1pPr algn="l">
              <a:defRPr sz="1067" b="0">
                <a:solidFill>
                  <a:schemeClr val="bg1"/>
                </a:solidFill>
              </a:defRPr>
            </a:lvl1pPr>
          </a:lstStyle>
          <a:p>
            <a:fld id="{D372AB51-BDCC-4F95-83CF-1CBB2D34E9E5}" type="slidenum">
              <a:rPr lang="en-US" smtClean="0">
                <a:solidFill>
                  <a:prstClr val="white"/>
                </a:solidFill>
              </a:rPr>
              <a:pPr/>
              <a:t>‹#›</a:t>
            </a:fld>
            <a:endParaRPr lang="en-US" dirty="0">
              <a:solidFill>
                <a:prstClr val="white"/>
              </a:solidFill>
            </a:endParaRP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525911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4C02E3B-13C9-4CAA-A64E-7AB14231C6B3}" type="datetimeFigureOut">
              <a:rPr lang="en-US" smtClean="0"/>
              <a:t>4/5/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3467519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138513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4C02E3B-13C9-4CAA-A64E-7AB14231C6B3}" type="datetimeFigureOut">
              <a:rPr lang="en-US" smtClean="0"/>
              <a:t>4/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34307298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4C02E3B-13C9-4CAA-A64E-7AB14231C6B3}" type="datetimeFigureOut">
              <a:rPr lang="en-US" smtClean="0"/>
              <a:t>4/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ED74A7-7D45-448B-B2DD-CA36CA59FD3B}" type="slidenum">
              <a:rPr lang="en-US" smtClean="0"/>
              <a:t>‹#›</a:t>
            </a:fld>
            <a:endParaRPr lang="en-US"/>
          </a:p>
        </p:txBody>
      </p:sp>
    </p:spTree>
    <p:extLst>
      <p:ext uri="{BB962C8B-B14F-4D97-AF65-F5344CB8AC3E}">
        <p14:creationId xmlns:p14="http://schemas.microsoft.com/office/powerpoint/2010/main" val="42068963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theme" Target="../theme/theme2.xml"/><Relationship Id="rId20" Type="http://schemas.openxmlformats.org/officeDocument/2006/relationships/slideLayout" Target="../slideLayouts/slideLayout34.xml"/><Relationship Id="rId41"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3.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67.xml"/><Relationship Id="rId7" Type="http://schemas.openxmlformats.org/officeDocument/2006/relationships/theme" Target="../theme/theme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C02E3B-13C9-4CAA-A64E-7AB14231C6B3}" type="datetimeFigureOut">
              <a:rPr lang="en-US" smtClean="0"/>
              <a:t>4/5/201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BED74A7-7D45-448B-B2DD-CA36CA59FD3B}" type="slidenum">
              <a:rPr lang="en-US" smtClean="0"/>
              <a:t>‹#›</a:t>
            </a:fld>
            <a:endParaRPr lang="en-US"/>
          </a:p>
        </p:txBody>
      </p:sp>
    </p:spTree>
    <p:extLst>
      <p:ext uri="{BB962C8B-B14F-4D97-AF65-F5344CB8AC3E}">
        <p14:creationId xmlns:p14="http://schemas.microsoft.com/office/powerpoint/2010/main" val="25632717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4" r:id="rId12"/>
    <p:sldLayoutId id="2147483720" r:id="rId13"/>
    <p:sldLayoutId id="214748372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80"/>
            <a:ext cx="11653520" cy="2021791"/>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599850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6" r:id="rId43"/>
    <p:sldLayoutId id="2147483717" r:id="rId44"/>
    <p:sldLayoutId id="2147483718" r:id="rId45"/>
  </p:sldLayoutIdLst>
  <p:transition>
    <p:fade/>
  </p:transition>
  <p:timing>
    <p:tnLst>
      <p:par>
        <p:cTn id="1" dur="indefinite" restart="never" nodeType="tmRoot"/>
      </p:par>
    </p:tnLst>
  </p:timing>
  <p:hf hdr="0" ftr="0" dt="0"/>
  <p:txStyles>
    <p:titleStyle>
      <a:lvl1pPr algn="l" defTabSz="914036" rtl="0" eaLnBrk="1" latinLnBrk="0" hangingPunct="1">
        <a:lnSpc>
          <a:spcPct val="90000"/>
        </a:lnSpc>
        <a:spcBef>
          <a:spcPct val="0"/>
        </a:spcBef>
        <a:buNone/>
        <a:defRPr lang="en-US" sz="519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23" marR="0" indent="-336023" algn="l" defTabSz="914036" rtl="0" eaLnBrk="1" fontAlgn="auto" latinLnBrk="0" hangingPunct="1">
        <a:lnSpc>
          <a:spcPct val="90000"/>
        </a:lnSpc>
        <a:spcBef>
          <a:spcPct val="20000"/>
        </a:spcBef>
        <a:spcAft>
          <a:spcPts val="0"/>
        </a:spcAft>
        <a:buClrTx/>
        <a:buSzPct val="90000"/>
        <a:buFont typeface="Arial" pitchFamily="34" charset="0"/>
        <a:buChar char="•"/>
        <a:tabLst/>
        <a:defRPr sz="3823" kern="1200" spc="0" baseline="0">
          <a:gradFill>
            <a:gsLst>
              <a:gs pos="1250">
                <a:schemeClr val="tx1"/>
              </a:gs>
              <a:gs pos="100000">
                <a:schemeClr val="tx1"/>
              </a:gs>
            </a:gsLst>
            <a:lin ang="5400000" scaled="0"/>
          </a:gradFill>
          <a:latin typeface="+mj-lt"/>
          <a:ea typeface="+mn-ea"/>
          <a:cs typeface="+mn-cs"/>
        </a:defRPr>
      </a:lvl1pPr>
      <a:lvl2pPr marL="572484" marR="0" indent="-236460" algn="l" defTabSz="91403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5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863" kern="1200" spc="0" baseline="0">
          <a:gradFill>
            <a:gsLst>
              <a:gs pos="1250">
                <a:schemeClr val="tx1"/>
              </a:gs>
              <a:gs pos="100000">
                <a:schemeClr val="tx1"/>
              </a:gs>
            </a:gsLst>
            <a:lin ang="5400000" scaled="0"/>
          </a:gradFill>
          <a:latin typeface="+mn-lt"/>
          <a:ea typeface="+mn-ea"/>
          <a:cs typeface="+mn-cs"/>
        </a:defRPr>
      </a:lvl3pPr>
      <a:lvl4pPr marL="1008069"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85" marR="0" indent="-224015" algn="l" defTabSz="91403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9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6pPr>
      <a:lvl7pPr marL="2970617"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7pPr>
      <a:lvl8pPr marL="3427635"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8pPr>
      <a:lvl9pPr marL="3884654" indent="-228509" algn="l" defTabSz="914036" rtl="0" eaLnBrk="1" latinLnBrk="0" hangingPunct="1">
        <a:spcBef>
          <a:spcPct val="20000"/>
        </a:spcBef>
        <a:buFont typeface="Arial" pitchFamily="34" charset="0"/>
        <a:buChar char="•"/>
        <a:defRPr sz="1863" kern="1200">
          <a:solidFill>
            <a:schemeClr val="tx1"/>
          </a:solidFill>
          <a:latin typeface="+mn-lt"/>
          <a:ea typeface="+mn-ea"/>
          <a:cs typeface="+mn-cs"/>
        </a:defRPr>
      </a:lvl9pPr>
    </p:bodyStyle>
    <p:otherStyle>
      <a:defPPr>
        <a:defRPr lang="en-US"/>
      </a:defPPr>
      <a:lvl1pPr marL="0" algn="l" defTabSz="914036" rtl="0" eaLnBrk="1" latinLnBrk="0" hangingPunct="1">
        <a:defRPr sz="1765" kern="1200">
          <a:solidFill>
            <a:schemeClr val="tx1"/>
          </a:solidFill>
          <a:latin typeface="+mn-lt"/>
          <a:ea typeface="+mn-ea"/>
          <a:cs typeface="+mn-cs"/>
        </a:defRPr>
      </a:lvl1pPr>
      <a:lvl2pPr marL="457019" algn="l" defTabSz="914036" rtl="0" eaLnBrk="1" latinLnBrk="0" hangingPunct="1">
        <a:defRPr sz="1765" kern="1200">
          <a:solidFill>
            <a:schemeClr val="tx1"/>
          </a:solidFill>
          <a:latin typeface="+mn-lt"/>
          <a:ea typeface="+mn-ea"/>
          <a:cs typeface="+mn-cs"/>
        </a:defRPr>
      </a:lvl2pPr>
      <a:lvl3pPr marL="914036" algn="l" defTabSz="914036" rtl="0" eaLnBrk="1" latinLnBrk="0" hangingPunct="1">
        <a:defRPr sz="1765" kern="1200">
          <a:solidFill>
            <a:schemeClr val="tx1"/>
          </a:solidFill>
          <a:latin typeface="+mn-lt"/>
          <a:ea typeface="+mn-ea"/>
          <a:cs typeface="+mn-cs"/>
        </a:defRPr>
      </a:lvl3pPr>
      <a:lvl4pPr marL="1371054" algn="l" defTabSz="914036" rtl="0" eaLnBrk="1" latinLnBrk="0" hangingPunct="1">
        <a:defRPr sz="1765" kern="1200">
          <a:solidFill>
            <a:schemeClr val="tx1"/>
          </a:solidFill>
          <a:latin typeface="+mn-lt"/>
          <a:ea typeface="+mn-ea"/>
          <a:cs typeface="+mn-cs"/>
        </a:defRPr>
      </a:lvl4pPr>
      <a:lvl5pPr marL="1828070" algn="l" defTabSz="914036" rtl="0" eaLnBrk="1" latinLnBrk="0" hangingPunct="1">
        <a:defRPr sz="1765" kern="1200">
          <a:solidFill>
            <a:schemeClr val="tx1"/>
          </a:solidFill>
          <a:latin typeface="+mn-lt"/>
          <a:ea typeface="+mn-ea"/>
          <a:cs typeface="+mn-cs"/>
        </a:defRPr>
      </a:lvl5pPr>
      <a:lvl6pPr marL="2285090" algn="l" defTabSz="914036" rtl="0" eaLnBrk="1" latinLnBrk="0" hangingPunct="1">
        <a:defRPr sz="1765" kern="1200">
          <a:solidFill>
            <a:schemeClr val="tx1"/>
          </a:solidFill>
          <a:latin typeface="+mn-lt"/>
          <a:ea typeface="+mn-ea"/>
          <a:cs typeface="+mn-cs"/>
        </a:defRPr>
      </a:lvl6pPr>
      <a:lvl7pPr marL="2742107" algn="l" defTabSz="914036" rtl="0" eaLnBrk="1" latinLnBrk="0" hangingPunct="1">
        <a:defRPr sz="1765" kern="1200">
          <a:solidFill>
            <a:schemeClr val="tx1"/>
          </a:solidFill>
          <a:latin typeface="+mn-lt"/>
          <a:ea typeface="+mn-ea"/>
          <a:cs typeface="+mn-cs"/>
        </a:defRPr>
      </a:lvl7pPr>
      <a:lvl8pPr marL="3199126" algn="l" defTabSz="914036" rtl="0" eaLnBrk="1" latinLnBrk="0" hangingPunct="1">
        <a:defRPr sz="1765" kern="1200">
          <a:solidFill>
            <a:schemeClr val="tx1"/>
          </a:solidFill>
          <a:latin typeface="+mn-lt"/>
          <a:ea typeface="+mn-ea"/>
          <a:cs typeface="+mn-cs"/>
        </a:defRPr>
      </a:lvl8pPr>
      <a:lvl9pPr marL="3656145" algn="l" defTabSz="914036"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69240" y="1189179"/>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3" y="6437743"/>
            <a:ext cx="3859607" cy="133860"/>
          </a:xfrm>
          <a:prstGeom prst="rect">
            <a:avLst/>
          </a:prstGeom>
        </p:spPr>
        <p:txBody>
          <a:bodyPr vert="horz" lIns="0" tIns="0" rIns="91440" bIns="0" rtlCol="0" anchor="ctr"/>
          <a:lstStyle>
            <a:lvl1pPr marL="0" algn="l" defTabSz="914004"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r>
              <a:rPr/>
              <a:t>Microsoft Confidential</a:t>
            </a:r>
          </a:p>
        </p:txBody>
      </p:sp>
      <p:sp>
        <p:nvSpPr>
          <p:cNvPr id="5" name="Slide Number Placeholder 4"/>
          <p:cNvSpPr>
            <a:spLocks noGrp="1"/>
          </p:cNvSpPr>
          <p:nvPr>
            <p:ph type="sldNum" sz="quarter" idx="4"/>
          </p:nvPr>
        </p:nvSpPr>
        <p:spPr>
          <a:xfrm>
            <a:off x="11367166" y="6437743"/>
            <a:ext cx="555597" cy="133860"/>
          </a:xfrm>
          <a:prstGeom prst="rect">
            <a:avLst/>
          </a:prstGeom>
        </p:spPr>
        <p:txBody>
          <a:bodyPr vert="horz" lIns="91440" tIns="0" rIns="0" bIns="0" rtlCol="0" anchor="ctr"/>
          <a:lstStyle>
            <a:lvl1pPr algn="r" defTabSz="914004"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dirty="0"/>
          </a:p>
        </p:txBody>
      </p:sp>
    </p:spTree>
    <p:extLst>
      <p:ext uri="{BB962C8B-B14F-4D97-AF65-F5344CB8AC3E}">
        <p14:creationId xmlns:p14="http://schemas.microsoft.com/office/powerpoint/2010/main" val="115017191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Lst>
  <p:transition>
    <p:fade/>
  </p:transition>
  <p:timing>
    <p:tnLst>
      <p:par>
        <p:cTn id="1" dur="indefinite" restart="never" nodeType="tmRoot"/>
      </p:par>
    </p:tnLst>
  </p:timing>
  <p:txStyles>
    <p:titleStyle>
      <a:lvl1pPr algn="l" defTabSz="913144" rtl="0" fontAlgn="base">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4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4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4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4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16" algn="l" defTabSz="91314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30" algn="l" defTabSz="91314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47" algn="l" defTabSz="91314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63" algn="l" defTabSz="91314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2" indent="-336012" algn="l" defTabSz="913144" rtl="0" fontAlgn="base">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64" indent="-236452" algn="l" defTabSz="913144" rtl="0" fontAlgn="base">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27" indent="-224008" algn="l" defTabSz="913144" rtl="0" fontAlgn="base">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36" indent="-224008" algn="l" defTabSz="913144"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43" indent="-224008" algn="l" defTabSz="913144"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11978903" y="5821364"/>
            <a:ext cx="184731" cy="461665"/>
          </a:xfrm>
          <a:prstGeom prst="rect">
            <a:avLst/>
          </a:prstGeom>
          <a:noFill/>
        </p:spPr>
        <p:txBody>
          <a:bodyPr wrap="none" rtlCol="0">
            <a:spAutoFit/>
          </a:bodyPr>
          <a:lstStyle/>
          <a:p>
            <a:endParaRPr lang="en-US" sz="2400" dirty="0">
              <a:solidFill>
                <a:srgbClr val="58585A"/>
              </a:solidFill>
            </a:endParaRPr>
          </a:p>
        </p:txBody>
      </p:sp>
      <p:sp>
        <p:nvSpPr>
          <p:cNvPr id="9" name="Title Placeholder 8"/>
          <p:cNvSpPr>
            <a:spLocks noGrp="1"/>
          </p:cNvSpPr>
          <p:nvPr>
            <p:ph type="title"/>
          </p:nvPr>
        </p:nvSpPr>
        <p:spPr>
          <a:xfrm>
            <a:off x="609600" y="307877"/>
            <a:ext cx="10972800" cy="817275"/>
          </a:xfrm>
          <a:prstGeom prst="rect">
            <a:avLst/>
          </a:prstGeom>
        </p:spPr>
        <p:txBody>
          <a:bodyPr vert="horz" lIns="91440" tIns="45720" rIns="91440" bIns="45720" rtlCol="0" anchor="ctr">
            <a:noAutofit/>
          </a:bodyPr>
          <a:lstStyle/>
          <a:p>
            <a:r>
              <a:rPr lang="en-US" dirty="0" smtClean="0"/>
              <a:t>Title Styling</a:t>
            </a:r>
            <a:endParaRPr lang="en-US" dirty="0"/>
          </a:p>
        </p:txBody>
      </p:sp>
      <p:sp>
        <p:nvSpPr>
          <p:cNvPr id="10" name="Text Placeholder 9"/>
          <p:cNvSpPr>
            <a:spLocks noGrp="1"/>
          </p:cNvSpPr>
          <p:nvPr>
            <p:ph type="body" idx="1"/>
          </p:nvPr>
        </p:nvSpPr>
        <p:spPr>
          <a:xfrm>
            <a:off x="609600" y="1507836"/>
            <a:ext cx="10972800" cy="4525963"/>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83695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Lst>
  <p:hf sldNum="0" hdr="0" ftr="0" dt="0"/>
  <p:txStyles>
    <p:titleStyle>
      <a:lvl1pPr marL="0" marR="0" indent="0" algn="l" defTabSz="609585" rtl="0" eaLnBrk="1" fontAlgn="auto" latinLnBrk="0" hangingPunct="1">
        <a:lnSpc>
          <a:spcPts val="4667"/>
        </a:lnSpc>
        <a:spcBef>
          <a:spcPct val="0"/>
        </a:spcBef>
        <a:spcAft>
          <a:spcPts val="0"/>
        </a:spcAft>
        <a:buClrTx/>
        <a:buSzTx/>
        <a:buFontTx/>
        <a:buNone/>
        <a:tabLst/>
        <a:defRPr kumimoji="0" lang="en-US" sz="5290" b="0" i="0" u="none" strike="noStrike" kern="1200" cap="none" spc="0" normalizeH="0" baseline="0">
          <a:ln>
            <a:noFill/>
          </a:ln>
          <a:solidFill>
            <a:schemeClr val="tx1"/>
          </a:solidFill>
          <a:effectLst/>
          <a:uLnTx/>
          <a:uFillTx/>
          <a:latin typeface="Segoe UI Light" panose="020B0502040204020203" pitchFamily="34" charset="0"/>
          <a:ea typeface="+mj-ea"/>
          <a:cs typeface="Segoe UI Light" panose="020B0502040204020203" pitchFamily="34" charset="0"/>
        </a:defRPr>
      </a:lvl1pPr>
    </p:titleStyle>
    <p:bodyStyle>
      <a:lvl1pPr marL="0" indent="0" algn="l" defTabSz="1219170" rtl="0" eaLnBrk="1" latinLnBrk="0" hangingPunct="1">
        <a:spcBef>
          <a:spcPct val="20000"/>
        </a:spcBef>
        <a:buFont typeface="Arial"/>
        <a:buNone/>
        <a:defRPr sz="3200" kern="1200">
          <a:solidFill>
            <a:schemeClr val="tx1"/>
          </a:solidFill>
          <a:latin typeface="+mn-lt"/>
          <a:ea typeface="+mn-ea"/>
          <a:cs typeface="+mn-cs"/>
        </a:defRPr>
      </a:lvl1pPr>
      <a:lvl2pPr marL="457189" indent="-457189" algn="l" defTabSz="1219170" rtl="0" eaLnBrk="1" latinLnBrk="0" hangingPunct="1">
        <a:spcBef>
          <a:spcPct val="20000"/>
        </a:spcBef>
        <a:buClr>
          <a:schemeClr val="accent4"/>
        </a:buClr>
        <a:buFont typeface="Arial"/>
        <a:buChar char="•"/>
        <a:defRPr lang="en-US" sz="2667" kern="1200" dirty="0" smtClean="0">
          <a:solidFill>
            <a:schemeClr val="tx1"/>
          </a:solidFill>
          <a:latin typeface="Century Gothic"/>
          <a:ea typeface="+mn-ea"/>
          <a:cs typeface="+mn-cs"/>
        </a:defRPr>
      </a:lvl2pPr>
      <a:lvl3pPr marL="850879" indent="-457189" algn="l" defTabSz="1219170" rtl="0" eaLnBrk="1" latinLnBrk="0" hangingPunct="1">
        <a:spcBef>
          <a:spcPct val="20000"/>
        </a:spcBef>
        <a:buClr>
          <a:schemeClr val="accent4"/>
        </a:buClr>
        <a:buFont typeface="Arial"/>
        <a:buChar char="•"/>
        <a:defRPr lang="en-US" sz="2400" kern="1200" dirty="0" smtClean="0">
          <a:solidFill>
            <a:schemeClr val="tx1"/>
          </a:solidFill>
          <a:latin typeface="Century Gothic"/>
          <a:ea typeface="+mn-ea"/>
          <a:cs typeface="+mn-cs"/>
        </a:defRPr>
      </a:lvl3pPr>
      <a:lvl4pPr marL="1229753" indent="-457189" algn="l" defTabSz="1219170" rtl="0" eaLnBrk="1" latinLnBrk="0" hangingPunct="1">
        <a:spcBef>
          <a:spcPct val="20000"/>
        </a:spcBef>
        <a:buClr>
          <a:schemeClr val="accent4"/>
        </a:buClr>
        <a:buFont typeface="Arial"/>
        <a:buChar char="•"/>
        <a:defRPr lang="en-US" sz="2400" kern="1200" dirty="0" smtClean="0">
          <a:solidFill>
            <a:schemeClr val="tx1"/>
          </a:solidFill>
          <a:latin typeface="Century Gothic"/>
          <a:ea typeface="+mn-ea"/>
          <a:cs typeface="+mn-cs"/>
        </a:defRPr>
      </a:lvl4pPr>
      <a:lvl5pPr marL="1585344" indent="-457189" algn="l" defTabSz="1219170" rtl="0" eaLnBrk="1" latinLnBrk="0" hangingPunct="1">
        <a:spcBef>
          <a:spcPct val="20000"/>
        </a:spcBef>
        <a:buClr>
          <a:schemeClr val="accent4"/>
        </a:buClr>
        <a:buFont typeface="Arial"/>
        <a:buChar char="•"/>
        <a:defRPr lang="en-US" sz="2400" kern="1200" dirty="0">
          <a:solidFill>
            <a:schemeClr val="tx1"/>
          </a:solidFill>
          <a:latin typeface="Century Gothic"/>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en.wikipedia.org/wiki/CAP_theorem" TargetMode="External"/><Relationship Id="rId2" Type="http://schemas.openxmlformats.org/officeDocument/2006/relationships/notesSlide" Target="../notesSlides/notesSlide7.xml"/><Relationship Id="rId1" Type="http://schemas.openxmlformats.org/officeDocument/2006/relationships/slideLayout" Target="../slideLayouts/slideLayout38.xml"/><Relationship Id="rId5" Type="http://schemas.openxmlformats.org/officeDocument/2006/relationships/hyperlink" Target="http://highscalability.com/blog/2013/5/1/myth-eric-brewer-on-why-banks-are-base-not-acid-availability.html" TargetMode="External"/><Relationship Id="rId4" Type="http://schemas.openxmlformats.org/officeDocument/2006/relationships/hyperlink" Target="http://www.infoq.com/articles/cap-twelve-years-later-how-the-rules-have-changed" TargetMode="Externa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68.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3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Layout" Target="../slideLayouts/slideLayout38.xml"/><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59.xml"/><Relationship Id="rId4" Type="http://schemas.openxmlformats.org/officeDocument/2006/relationships/hyperlink" Target="https://cn2p.codeplex.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hyperlink" Target="http://blogs.technet.com/b/dataplatforminsider/archive/2014/02/18/data-intensive-applications-in-the-cloud-computing-world.aspx?loc=zTS3z&amp;prod=zWAz&amp;tech=zCLz&amp;prog=zOTprogz&amp;type=zBLz&amp;media=zOTmediaz&amp;country=zUSz" TargetMode="Externa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5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endParaRPr lang="en-US" dirty="0"/>
          </a:p>
        </p:txBody>
      </p:sp>
      <p:sp>
        <p:nvSpPr>
          <p:cNvPr id="4" name="Title 3"/>
          <p:cNvSpPr>
            <a:spLocks noGrp="1"/>
          </p:cNvSpPr>
          <p:nvPr>
            <p:ph type="title"/>
          </p:nvPr>
        </p:nvSpPr>
        <p:spPr/>
        <p:txBody>
          <a:bodyPr/>
          <a:lstStyle/>
          <a:p>
            <a:r>
              <a:rPr lang="en-US" b="1" dirty="0"/>
              <a:t>NoSQL and Relational in the Modern Data Architecture</a:t>
            </a:r>
            <a:r>
              <a:rPr lang="en-US" dirty="0"/>
              <a:t> </a:t>
            </a:r>
          </a:p>
        </p:txBody>
      </p:sp>
    </p:spTree>
    <p:extLst>
      <p:ext uri="{BB962C8B-B14F-4D97-AF65-F5344CB8AC3E}">
        <p14:creationId xmlns:p14="http://schemas.microsoft.com/office/powerpoint/2010/main" val="37784062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58977" y="89942"/>
            <a:ext cx="8694296" cy="6655041"/>
          </a:xfrm>
          <a:prstGeom prst="rect">
            <a:avLst/>
          </a:prstGeom>
        </p:spPr>
      </p:pic>
    </p:spTree>
    <p:extLst>
      <p:ext uri="{BB962C8B-B14F-4D97-AF65-F5344CB8AC3E}">
        <p14:creationId xmlns:p14="http://schemas.microsoft.com/office/powerpoint/2010/main" val="256338195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erminology Time</a:t>
            </a:r>
            <a:endParaRPr lang="en-US" dirty="0"/>
          </a:p>
        </p:txBody>
      </p:sp>
      <p:sp>
        <p:nvSpPr>
          <p:cNvPr id="3" name="TextBox 2"/>
          <p:cNvSpPr txBox="1"/>
          <p:nvPr/>
        </p:nvSpPr>
        <p:spPr>
          <a:xfrm>
            <a:off x="949266" y="3013466"/>
            <a:ext cx="2447365" cy="913007"/>
          </a:xfrm>
          <a:prstGeom prst="rect">
            <a:avLst/>
          </a:prstGeom>
          <a:noFill/>
        </p:spPr>
        <p:txBody>
          <a:bodyPr wrap="square" rtlCol="0">
            <a:spAutoFit/>
          </a:bodyPr>
          <a:lstStyle/>
          <a:p>
            <a:r>
              <a:rPr lang="en-CA" sz="5333" i="1" dirty="0"/>
              <a:t>CAP</a:t>
            </a:r>
          </a:p>
        </p:txBody>
      </p:sp>
      <p:sp>
        <p:nvSpPr>
          <p:cNvPr id="5" name="TextBox 4"/>
          <p:cNvSpPr txBox="1"/>
          <p:nvPr/>
        </p:nvSpPr>
        <p:spPr>
          <a:xfrm>
            <a:off x="4194948" y="1584455"/>
            <a:ext cx="2447365" cy="913007"/>
          </a:xfrm>
          <a:prstGeom prst="rect">
            <a:avLst/>
          </a:prstGeom>
          <a:noFill/>
        </p:spPr>
        <p:txBody>
          <a:bodyPr wrap="square" rtlCol="0">
            <a:spAutoFit/>
          </a:bodyPr>
          <a:lstStyle/>
          <a:p>
            <a:r>
              <a:rPr lang="en-CA" sz="5333" dirty="0">
                <a:ln w="0"/>
                <a:solidFill>
                  <a:schemeClr val="accent4"/>
                </a:solidFill>
                <a:effectLst>
                  <a:outerShdw blurRad="38100" dist="25400" dir="5400000" algn="ctr" rotWithShape="0">
                    <a:srgbClr val="6E747A">
                      <a:alpha val="43000"/>
                    </a:srgbClr>
                  </a:outerShdw>
                </a:effectLst>
              </a:rPr>
              <a:t>ACID</a:t>
            </a:r>
          </a:p>
        </p:txBody>
      </p:sp>
      <p:sp>
        <p:nvSpPr>
          <p:cNvPr id="6" name="TextBox 5"/>
          <p:cNvSpPr txBox="1"/>
          <p:nvPr/>
        </p:nvSpPr>
        <p:spPr>
          <a:xfrm>
            <a:off x="3698677" y="3469969"/>
            <a:ext cx="2447365" cy="913007"/>
          </a:xfrm>
          <a:prstGeom prst="rect">
            <a:avLst/>
          </a:prstGeom>
          <a:noFill/>
        </p:spPr>
        <p:txBody>
          <a:bodyPr wrap="square" rtlCol="0">
            <a:spAutoFit/>
          </a:bodyPr>
          <a:lstStyle/>
          <a:p>
            <a:r>
              <a:rPr lang="en-CA" sz="5333" dirty="0">
                <a:ln w="0"/>
                <a:solidFill>
                  <a:schemeClr val="accent1"/>
                </a:solidFill>
                <a:effectLst>
                  <a:outerShdw blurRad="38100" dist="25400" dir="5400000" algn="ctr" rotWithShape="0">
                    <a:srgbClr val="6E747A">
                      <a:alpha val="43000"/>
                    </a:srgbClr>
                  </a:outerShdw>
                </a:effectLst>
              </a:rPr>
              <a:t>BASE</a:t>
            </a:r>
          </a:p>
        </p:txBody>
      </p:sp>
      <p:sp>
        <p:nvSpPr>
          <p:cNvPr id="8" name="TextBox 7"/>
          <p:cNvSpPr txBox="1"/>
          <p:nvPr/>
        </p:nvSpPr>
        <p:spPr>
          <a:xfrm>
            <a:off x="1978011" y="5002769"/>
            <a:ext cx="3344616" cy="913007"/>
          </a:xfrm>
          <a:prstGeom prst="rect">
            <a:avLst/>
          </a:prstGeom>
          <a:noFill/>
        </p:spPr>
        <p:txBody>
          <a:bodyPr wrap="square" rtlCol="0">
            <a:spAutoFit/>
          </a:bodyPr>
          <a:lstStyle/>
          <a:p>
            <a:r>
              <a:rPr lang="en-CA" sz="5333" b="1" dirty="0" smtClean="0">
                <a:ln w="22225">
                  <a:solidFill>
                    <a:schemeClr val="accent4"/>
                  </a:solidFill>
                  <a:prstDash val="solid"/>
                </a:ln>
                <a:solidFill>
                  <a:schemeClr val="accent4">
                    <a:lumMod val="75000"/>
                  </a:schemeClr>
                </a:solidFill>
              </a:rPr>
              <a:t>POLYGLOT</a:t>
            </a:r>
            <a:endParaRPr lang="en-CA" sz="5333" b="1" dirty="0">
              <a:ln w="22225">
                <a:solidFill>
                  <a:schemeClr val="accent4"/>
                </a:solidFill>
                <a:prstDash val="solid"/>
              </a:ln>
              <a:solidFill>
                <a:schemeClr val="accent4">
                  <a:lumMod val="75000"/>
                </a:schemeClr>
              </a:solidFill>
            </a:endParaRPr>
          </a:p>
        </p:txBody>
      </p:sp>
      <p:sp>
        <p:nvSpPr>
          <p:cNvPr id="9" name="TextBox 8"/>
          <p:cNvSpPr txBox="1"/>
          <p:nvPr/>
        </p:nvSpPr>
        <p:spPr>
          <a:xfrm>
            <a:off x="7422711" y="3829474"/>
            <a:ext cx="3322917" cy="913007"/>
          </a:xfrm>
          <a:prstGeom prst="rect">
            <a:avLst/>
          </a:prstGeom>
          <a:noFill/>
        </p:spPr>
        <p:txBody>
          <a:bodyPr wrap="square" rtlCol="0">
            <a:spAutoFit/>
          </a:bodyPr>
          <a:lstStyle/>
          <a:p>
            <a:r>
              <a:rPr lang="en-CA" sz="5333" dirty="0">
                <a:ln w="0"/>
                <a:solidFill>
                  <a:schemeClr val="accent1"/>
                </a:solidFill>
                <a:effectLst>
                  <a:outerShdw blurRad="38100" dist="25400" dir="5400000" algn="ctr" rotWithShape="0">
                    <a:srgbClr val="6E747A">
                      <a:alpha val="43000"/>
                    </a:srgbClr>
                  </a:outerShdw>
                </a:effectLst>
              </a:rPr>
              <a:t>SCHEMA</a:t>
            </a:r>
          </a:p>
        </p:txBody>
      </p:sp>
      <p:sp>
        <p:nvSpPr>
          <p:cNvPr id="11" name="TextBox 10"/>
          <p:cNvSpPr txBox="1"/>
          <p:nvPr/>
        </p:nvSpPr>
        <p:spPr>
          <a:xfrm>
            <a:off x="8618774" y="1896384"/>
            <a:ext cx="2447365" cy="913007"/>
          </a:xfrm>
          <a:prstGeom prst="rect">
            <a:avLst/>
          </a:prstGeom>
          <a:noFill/>
        </p:spPr>
        <p:txBody>
          <a:bodyPr wrap="square" rtlCol="0">
            <a:spAutoFit/>
          </a:bodyPr>
          <a:lstStyle/>
          <a:p>
            <a:r>
              <a:rPr lang="en-CA" sz="5333" b="1" dirty="0"/>
              <a:t>Cloud</a:t>
            </a:r>
          </a:p>
        </p:txBody>
      </p:sp>
      <p:sp>
        <p:nvSpPr>
          <p:cNvPr id="12" name="TextBox 11"/>
          <p:cNvSpPr txBox="1"/>
          <p:nvPr/>
        </p:nvSpPr>
        <p:spPr>
          <a:xfrm>
            <a:off x="6340979" y="5459273"/>
            <a:ext cx="3758364" cy="913007"/>
          </a:xfrm>
          <a:prstGeom prst="rect">
            <a:avLst/>
          </a:prstGeom>
          <a:noFill/>
        </p:spPr>
        <p:txBody>
          <a:bodyPr wrap="square" rtlCol="0">
            <a:spAutoFit/>
          </a:bodyPr>
          <a:lstStyle/>
          <a:p>
            <a:r>
              <a:rPr lang="en-CA" sz="5333" i="1" dirty="0" smtClean="0"/>
              <a:t>Consistency</a:t>
            </a:r>
            <a:endParaRPr lang="en-CA" sz="5333" i="1" dirty="0"/>
          </a:p>
        </p:txBody>
      </p:sp>
    </p:spTree>
    <p:extLst>
      <p:ext uri="{BB962C8B-B14F-4D97-AF65-F5344CB8AC3E}">
        <p14:creationId xmlns:p14="http://schemas.microsoft.com/office/powerpoint/2010/main" val="19406288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dirty="0" smtClean="0"/>
              <a:t>Distributed Systems and the CAP Theorem</a:t>
            </a:r>
            <a:endParaRPr lang="en-US" sz="4800" dirty="0"/>
          </a:p>
        </p:txBody>
      </p:sp>
      <p:sp>
        <p:nvSpPr>
          <p:cNvPr id="7" name="Isosceles Triangle 6"/>
          <p:cNvSpPr/>
          <p:nvPr/>
        </p:nvSpPr>
        <p:spPr bwMode="auto">
          <a:xfrm rot="3606910">
            <a:off x="3109455" y="1427321"/>
            <a:ext cx="3810000" cy="3284483"/>
          </a:xfrm>
          <a:prstGeom prst="triangle">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extBox 7"/>
          <p:cNvSpPr txBox="1"/>
          <p:nvPr/>
        </p:nvSpPr>
        <p:spPr>
          <a:xfrm>
            <a:off x="6527733" y="1658045"/>
            <a:ext cx="1830373" cy="492443"/>
          </a:xfrm>
          <a:prstGeom prst="rect">
            <a:avLst/>
          </a:prstGeom>
          <a:noFill/>
        </p:spPr>
        <p:txBody>
          <a:bodyPr wrap="none" lIns="0" tIns="0" rIns="0" bIns="0" rtlCol="0">
            <a:spAutoFit/>
          </a:bodyPr>
          <a:lstStyle/>
          <a:p>
            <a:r>
              <a:rPr lang="en-US" sz="3200" spc="-71" dirty="0">
                <a:solidFill>
                  <a:srgbClr val="181651"/>
                </a:solidFill>
              </a:rPr>
              <a:t>Availability</a:t>
            </a:r>
          </a:p>
        </p:txBody>
      </p:sp>
      <p:sp>
        <p:nvSpPr>
          <p:cNvPr id="9" name="TextBox 8"/>
          <p:cNvSpPr txBox="1"/>
          <p:nvPr/>
        </p:nvSpPr>
        <p:spPr>
          <a:xfrm>
            <a:off x="437199" y="1658045"/>
            <a:ext cx="2047868" cy="492443"/>
          </a:xfrm>
          <a:prstGeom prst="rect">
            <a:avLst/>
          </a:prstGeom>
          <a:noFill/>
        </p:spPr>
        <p:txBody>
          <a:bodyPr wrap="none" lIns="0" tIns="0" rIns="0" bIns="0" rtlCol="0">
            <a:spAutoFit/>
          </a:bodyPr>
          <a:lstStyle/>
          <a:p>
            <a:r>
              <a:rPr lang="en-US" sz="3200" spc="-71" dirty="0">
                <a:solidFill>
                  <a:srgbClr val="181651"/>
                </a:solidFill>
              </a:rPr>
              <a:t>Consistency</a:t>
            </a:r>
          </a:p>
        </p:txBody>
      </p:sp>
      <p:sp>
        <p:nvSpPr>
          <p:cNvPr id="10" name="TextBox 9"/>
          <p:cNvSpPr txBox="1"/>
          <p:nvPr/>
        </p:nvSpPr>
        <p:spPr>
          <a:xfrm>
            <a:off x="2721302" y="5729585"/>
            <a:ext cx="3558229" cy="492443"/>
          </a:xfrm>
          <a:prstGeom prst="rect">
            <a:avLst/>
          </a:prstGeom>
          <a:noFill/>
        </p:spPr>
        <p:txBody>
          <a:bodyPr wrap="square" lIns="0" tIns="0" rIns="0" bIns="0" rtlCol="0">
            <a:spAutoFit/>
          </a:bodyPr>
          <a:lstStyle/>
          <a:p>
            <a:pPr algn="ctr"/>
            <a:r>
              <a:rPr lang="en-US" sz="3200" spc="-71" dirty="0">
                <a:solidFill>
                  <a:srgbClr val="181651"/>
                </a:solidFill>
              </a:rPr>
              <a:t>Partition Tolerant</a:t>
            </a:r>
          </a:p>
        </p:txBody>
      </p:sp>
      <p:sp>
        <p:nvSpPr>
          <p:cNvPr id="11" name="TextBox 10"/>
          <p:cNvSpPr txBox="1"/>
          <p:nvPr/>
        </p:nvSpPr>
        <p:spPr>
          <a:xfrm>
            <a:off x="3189630" y="1639258"/>
            <a:ext cx="2680798" cy="307777"/>
          </a:xfrm>
          <a:prstGeom prst="rect">
            <a:avLst/>
          </a:prstGeom>
          <a:noFill/>
        </p:spPr>
        <p:txBody>
          <a:bodyPr wrap="none" lIns="0" tIns="0" rIns="0" bIns="0" rtlCol="0">
            <a:spAutoFit/>
          </a:bodyPr>
          <a:lstStyle/>
          <a:p>
            <a:r>
              <a:rPr lang="en-US" sz="2000" spc="-71" dirty="0">
                <a:gradFill>
                  <a:gsLst>
                    <a:gs pos="2917">
                      <a:srgbClr val="58585A"/>
                    </a:gs>
                    <a:gs pos="30000">
                      <a:srgbClr val="58585A"/>
                    </a:gs>
                  </a:gsLst>
                  <a:lin ang="5400000" scaled="0"/>
                </a:gradFill>
              </a:rPr>
              <a:t>Relational, Un-partitioned</a:t>
            </a:r>
          </a:p>
        </p:txBody>
      </p:sp>
      <p:sp>
        <p:nvSpPr>
          <p:cNvPr id="12" name="TextBox 11"/>
          <p:cNvSpPr txBox="1"/>
          <p:nvPr/>
        </p:nvSpPr>
        <p:spPr>
          <a:xfrm>
            <a:off x="6048025" y="3747195"/>
            <a:ext cx="2317558" cy="656462"/>
          </a:xfrm>
          <a:prstGeom prst="rect">
            <a:avLst/>
          </a:prstGeom>
          <a:noFill/>
        </p:spPr>
        <p:txBody>
          <a:bodyPr wrap="none" lIns="0" tIns="0" rIns="0" bIns="0" rtlCol="0">
            <a:spAutoFit/>
          </a:bodyPr>
          <a:lstStyle/>
          <a:p>
            <a:pPr algn="ctr"/>
            <a:r>
              <a:rPr lang="en-US" sz="2133" spc="-71" dirty="0">
                <a:gradFill>
                  <a:gsLst>
                    <a:gs pos="2917">
                      <a:srgbClr val="58585A"/>
                    </a:gs>
                    <a:gs pos="30000">
                      <a:srgbClr val="58585A"/>
                    </a:gs>
                  </a:gsLst>
                  <a:lin ang="5400000" scaled="0"/>
                </a:gradFill>
              </a:rPr>
              <a:t>Dynamo-like:</a:t>
            </a:r>
          </a:p>
          <a:p>
            <a:pPr algn="ctr"/>
            <a:r>
              <a:rPr lang="en-US" sz="2133" spc="-71" dirty="0">
                <a:gradFill>
                  <a:gsLst>
                    <a:gs pos="2917">
                      <a:srgbClr val="58585A"/>
                    </a:gs>
                    <a:gs pos="30000">
                      <a:srgbClr val="58585A"/>
                    </a:gs>
                  </a:gsLst>
                  <a:lin ang="5400000" scaled="0"/>
                </a:gradFill>
              </a:rPr>
              <a:t>Cassandra, </a:t>
            </a:r>
            <a:r>
              <a:rPr lang="en-US" sz="2133" spc="-71" dirty="0" err="1">
                <a:gradFill>
                  <a:gsLst>
                    <a:gs pos="2917">
                      <a:srgbClr val="58585A"/>
                    </a:gs>
                    <a:gs pos="30000">
                      <a:srgbClr val="58585A"/>
                    </a:gs>
                  </a:gsLst>
                  <a:lin ang="5400000" scaled="0"/>
                </a:gradFill>
              </a:rPr>
              <a:t>CouchDB</a:t>
            </a:r>
            <a:endParaRPr lang="en-US" sz="2133" spc="-71" dirty="0">
              <a:gradFill>
                <a:gsLst>
                  <a:gs pos="2917">
                    <a:srgbClr val="58585A"/>
                  </a:gs>
                  <a:gs pos="30000">
                    <a:srgbClr val="58585A"/>
                  </a:gs>
                </a:gsLst>
                <a:lin ang="5400000" scaled="0"/>
              </a:gradFill>
            </a:endParaRPr>
          </a:p>
        </p:txBody>
      </p:sp>
      <p:sp>
        <p:nvSpPr>
          <p:cNvPr id="13" name="TextBox 12"/>
          <p:cNvSpPr txBox="1"/>
          <p:nvPr/>
        </p:nvSpPr>
        <p:spPr>
          <a:xfrm>
            <a:off x="837994" y="3747195"/>
            <a:ext cx="1986891" cy="656462"/>
          </a:xfrm>
          <a:prstGeom prst="rect">
            <a:avLst/>
          </a:prstGeom>
          <a:noFill/>
        </p:spPr>
        <p:txBody>
          <a:bodyPr wrap="none" lIns="0" tIns="0" rIns="0" bIns="0" rtlCol="0">
            <a:spAutoFit/>
          </a:bodyPr>
          <a:lstStyle/>
          <a:p>
            <a:pPr algn="ctr"/>
            <a:r>
              <a:rPr lang="en-US" sz="2133" spc="-71" dirty="0">
                <a:gradFill>
                  <a:gsLst>
                    <a:gs pos="2917">
                      <a:srgbClr val="58585A"/>
                    </a:gs>
                    <a:gs pos="30000">
                      <a:srgbClr val="58585A"/>
                    </a:gs>
                  </a:gsLst>
                  <a:lin ang="5400000" scaled="0"/>
                </a:gradFill>
              </a:rPr>
              <a:t>Big Table-like:</a:t>
            </a:r>
          </a:p>
          <a:p>
            <a:pPr algn="ctr"/>
            <a:r>
              <a:rPr lang="en-US" sz="2133" spc="-71" dirty="0">
                <a:gradFill>
                  <a:gsLst>
                    <a:gs pos="2917">
                      <a:srgbClr val="58585A"/>
                    </a:gs>
                    <a:gs pos="30000">
                      <a:srgbClr val="58585A"/>
                    </a:gs>
                  </a:gsLst>
                  <a:lin ang="5400000" scaled="0"/>
                </a:gradFill>
              </a:rPr>
              <a:t>HBase, </a:t>
            </a:r>
            <a:r>
              <a:rPr lang="en-US" sz="2133" spc="-71" dirty="0" err="1">
                <a:gradFill>
                  <a:gsLst>
                    <a:gs pos="2917">
                      <a:srgbClr val="58585A"/>
                    </a:gs>
                    <a:gs pos="30000">
                      <a:srgbClr val="58585A"/>
                    </a:gs>
                  </a:gsLst>
                  <a:lin ang="5400000" scaled="0"/>
                </a:gradFill>
              </a:rPr>
              <a:t>MongoDB</a:t>
            </a:r>
            <a:endParaRPr lang="en-US" sz="2133" spc="-71" dirty="0">
              <a:gradFill>
                <a:gsLst>
                  <a:gs pos="2917">
                    <a:srgbClr val="58585A"/>
                  </a:gs>
                  <a:gs pos="30000">
                    <a:srgbClr val="58585A"/>
                  </a:gs>
                </a:gsLst>
                <a:lin ang="5400000" scaled="0"/>
              </a:gradFill>
            </a:endParaRPr>
          </a:p>
        </p:txBody>
      </p:sp>
      <p:cxnSp>
        <p:nvCxnSpPr>
          <p:cNvPr id="21" name="Straight Arrow Connector 20"/>
          <p:cNvCxnSpPr/>
          <p:nvPr/>
        </p:nvCxnSpPr>
        <p:spPr>
          <a:xfrm>
            <a:off x="2294194" y="2287857"/>
            <a:ext cx="1939493" cy="3376431"/>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4843964" y="2287857"/>
            <a:ext cx="1938528" cy="3376431"/>
          </a:xfrm>
          <a:prstGeom prst="straightConnector1">
            <a:avLst/>
          </a:prstGeom>
          <a:ln w="762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703731" y="4048453"/>
            <a:ext cx="4438165" cy="2297617"/>
          </a:xfrm>
          <a:prstGeom prst="rect">
            <a:avLst/>
          </a:prstGeom>
          <a:noFill/>
        </p:spPr>
        <p:txBody>
          <a:bodyPr wrap="square" lIns="0" tIns="0" rIns="0" bIns="0" rtlCol="0">
            <a:spAutoFit/>
          </a:bodyPr>
          <a:lstStyle/>
          <a:p>
            <a:pPr algn="ctr"/>
            <a:r>
              <a:rPr lang="en-US" sz="2133" dirty="0">
                <a:solidFill>
                  <a:srgbClr val="58585A"/>
                </a:solidFill>
              </a:rPr>
              <a:t>Eric Brewer’s </a:t>
            </a:r>
            <a:br>
              <a:rPr lang="en-US" sz="2133" dirty="0">
                <a:solidFill>
                  <a:srgbClr val="58585A"/>
                </a:solidFill>
              </a:rPr>
            </a:br>
            <a:r>
              <a:rPr lang="en-US" sz="2133" dirty="0">
                <a:solidFill>
                  <a:srgbClr val="58585A"/>
                </a:solidFill>
                <a:hlinkClick r:id="rId3"/>
              </a:rPr>
              <a:t>CAP Theorem </a:t>
            </a:r>
            <a:r>
              <a:rPr lang="en-US" sz="2133" dirty="0">
                <a:solidFill>
                  <a:srgbClr val="58585A"/>
                </a:solidFill>
              </a:rPr>
              <a:t> </a:t>
            </a:r>
            <a:br>
              <a:rPr lang="en-US" sz="2133" dirty="0">
                <a:solidFill>
                  <a:srgbClr val="58585A"/>
                </a:solidFill>
              </a:rPr>
            </a:br>
            <a:r>
              <a:rPr lang="en-US" sz="2133" dirty="0">
                <a:solidFill>
                  <a:srgbClr val="58585A"/>
                </a:solidFill>
              </a:rPr>
              <a:t>and even better</a:t>
            </a:r>
          </a:p>
          <a:p>
            <a:pPr algn="ctr"/>
            <a:r>
              <a:rPr lang="en-US" sz="2133" dirty="0">
                <a:solidFill>
                  <a:srgbClr val="58585A"/>
                </a:solidFill>
                <a:hlinkClick r:id="rId4"/>
              </a:rPr>
              <a:t>CAP Twelve Years Later</a:t>
            </a:r>
            <a:endParaRPr lang="en-US" sz="2133" dirty="0">
              <a:solidFill>
                <a:srgbClr val="58585A"/>
              </a:solidFill>
            </a:endParaRPr>
          </a:p>
          <a:p>
            <a:pPr algn="ctr"/>
            <a:r>
              <a:rPr lang="en-US" sz="2133" spc="-95" dirty="0">
                <a:gradFill>
                  <a:gsLst>
                    <a:gs pos="2917">
                      <a:srgbClr val="58585A"/>
                    </a:gs>
                    <a:gs pos="30000">
                      <a:srgbClr val="58585A"/>
                    </a:gs>
                  </a:gsLst>
                  <a:lin ang="5400000" scaled="0"/>
                </a:gradFill>
              </a:rPr>
              <a:t>and even better yet</a:t>
            </a:r>
          </a:p>
          <a:p>
            <a:pPr algn="ctr"/>
            <a:r>
              <a:rPr lang="en-US" sz="2133" spc="-95" dirty="0">
                <a:gradFill>
                  <a:gsLst>
                    <a:gs pos="2917">
                      <a:srgbClr val="58585A"/>
                    </a:gs>
                    <a:gs pos="30000">
                      <a:srgbClr val="58585A"/>
                    </a:gs>
                  </a:gsLst>
                  <a:lin ang="5400000" scaled="0"/>
                </a:gradFill>
                <a:hlinkClick r:id="rId5"/>
              </a:rPr>
              <a:t>Myth: Eric Brewer On Why Banks Are BASE Not ACID - Availability Is Revenue </a:t>
            </a:r>
            <a:endParaRPr lang="en-US" sz="2133" spc="-95" dirty="0">
              <a:gradFill>
                <a:gsLst>
                  <a:gs pos="2917">
                    <a:srgbClr val="58585A"/>
                  </a:gs>
                  <a:gs pos="30000">
                    <a:srgbClr val="58585A"/>
                  </a:gs>
                </a:gsLst>
                <a:lin ang="5400000" scaled="0"/>
              </a:gradFill>
            </a:endParaRPr>
          </a:p>
        </p:txBody>
      </p:sp>
    </p:spTree>
    <p:extLst>
      <p:ext uri="{BB962C8B-B14F-4D97-AF65-F5344CB8AC3E}">
        <p14:creationId xmlns:p14="http://schemas.microsoft.com/office/powerpoint/2010/main" val="224063107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sz="half" idx="1"/>
            <p:extLst/>
          </p:nvPr>
        </p:nvGraphicFramePr>
        <p:xfrm>
          <a:off x="609600" y="2338305"/>
          <a:ext cx="5384800" cy="40156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ontent Placeholder 3"/>
          <p:cNvSpPr>
            <a:spLocks noGrp="1"/>
          </p:cNvSpPr>
          <p:nvPr>
            <p:ph sz="quarter" idx="10"/>
          </p:nvPr>
        </p:nvSpPr>
        <p:spPr/>
        <p:txBody>
          <a:bodyPr/>
          <a:lstStyle/>
          <a:p>
            <a:r>
              <a:rPr lang="en-CA" dirty="0" smtClean="0"/>
              <a:t>BASE</a:t>
            </a:r>
            <a:endParaRPr lang="en-CA" dirty="0"/>
          </a:p>
        </p:txBody>
      </p:sp>
      <p:sp>
        <p:nvSpPr>
          <p:cNvPr id="5" name="Content Placeholder 4"/>
          <p:cNvSpPr>
            <a:spLocks noGrp="1"/>
          </p:cNvSpPr>
          <p:nvPr>
            <p:ph sz="quarter" idx="11"/>
          </p:nvPr>
        </p:nvSpPr>
        <p:spPr/>
        <p:txBody>
          <a:bodyPr/>
          <a:lstStyle/>
          <a:p>
            <a:r>
              <a:rPr lang="en-CA" dirty="0" smtClean="0"/>
              <a:t>ACID</a:t>
            </a:r>
            <a:endParaRPr lang="en-CA" dirty="0"/>
          </a:p>
        </p:txBody>
      </p:sp>
      <p:graphicFrame>
        <p:nvGraphicFramePr>
          <p:cNvPr id="8" name="Content Placeholder 7"/>
          <p:cNvGraphicFramePr>
            <a:graphicFrameLocks noGrp="1"/>
          </p:cNvGraphicFramePr>
          <p:nvPr>
            <p:ph sz="half" idx="12"/>
            <p:extLst/>
          </p:nvPr>
        </p:nvGraphicFramePr>
        <p:xfrm>
          <a:off x="6184575" y="2338305"/>
          <a:ext cx="5384800" cy="401565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itle 2"/>
          <p:cNvSpPr>
            <a:spLocks noGrp="1"/>
          </p:cNvSpPr>
          <p:nvPr>
            <p:ph type="title"/>
          </p:nvPr>
        </p:nvSpPr>
        <p:spPr/>
        <p:txBody>
          <a:bodyPr/>
          <a:lstStyle/>
          <a:p>
            <a:r>
              <a:rPr lang="en-US" smtClean="0"/>
              <a:t>BASE - ACID</a:t>
            </a:r>
            <a:endParaRPr lang="en-US" dirty="0"/>
          </a:p>
        </p:txBody>
      </p:sp>
    </p:spTree>
    <p:extLst>
      <p:ext uri="{BB962C8B-B14F-4D97-AF65-F5344CB8AC3E}">
        <p14:creationId xmlns:p14="http://schemas.microsoft.com/office/powerpoint/2010/main" val="20298501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__</a:t>
            </a:r>
            <a:r>
              <a:rPr lang="en-CA" dirty="0" err="1" smtClean="0"/>
              <a:t>aaS</a:t>
            </a:r>
            <a:r>
              <a:rPr lang="en-CA" dirty="0" smtClean="0"/>
              <a:t> - Services</a:t>
            </a:r>
            <a:endParaRPr lang="en-CA" dirty="0"/>
          </a:p>
        </p:txBody>
      </p:sp>
      <p:graphicFrame>
        <p:nvGraphicFramePr>
          <p:cNvPr id="13" name="Content Placeholder 12"/>
          <p:cNvGraphicFramePr>
            <a:graphicFrameLocks noGrp="1"/>
          </p:cNvGraphicFramePr>
          <p:nvPr>
            <p:ph sz="quarter" idx="4294967295"/>
            <p:extLst/>
          </p:nvPr>
        </p:nvGraphicFramePr>
        <p:xfrm>
          <a:off x="526824" y="1847850"/>
          <a:ext cx="10990262" cy="43100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102306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Azure Data Services</a:t>
            </a:r>
            <a:endParaRPr lang="en-US" sz="4000" dirty="0"/>
          </a:p>
        </p:txBody>
      </p:sp>
      <p:sp>
        <p:nvSpPr>
          <p:cNvPr id="50" name="Rectangle 49"/>
          <p:cNvSpPr/>
          <p:nvPr/>
        </p:nvSpPr>
        <p:spPr bwMode="auto">
          <a:xfrm>
            <a:off x="1387330" y="223148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bwMode="auto">
          <a:xfrm>
            <a:off x="3698128" y="223148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6002194" y="223148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8306264" y="2231484"/>
            <a:ext cx="2223744" cy="3786380"/>
          </a:xfrm>
          <a:prstGeom prst="rect">
            <a:avLst/>
          </a:prstGeom>
          <a:solidFill>
            <a:srgbClr val="F2F2F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bwMode="auto">
          <a:xfrm>
            <a:off x="1388016" y="1157852"/>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SQL Database</a:t>
            </a:r>
          </a:p>
        </p:txBody>
      </p:sp>
      <p:sp>
        <p:nvSpPr>
          <p:cNvPr id="55" name="Rectangle 54"/>
          <p:cNvSpPr/>
          <p:nvPr/>
        </p:nvSpPr>
        <p:spPr bwMode="auto">
          <a:xfrm>
            <a:off x="5996150" y="1156430"/>
            <a:ext cx="222978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smtClean="0">
                <a:ln>
                  <a:solidFill>
                    <a:srgbClr val="FFFFFF">
                      <a:alpha val="0"/>
                    </a:srgbClr>
                  </a:solidFill>
                </a:ln>
                <a:solidFill>
                  <a:srgbClr val="FFFFFF"/>
                </a:solidFill>
              </a:rPr>
              <a:t>HBase</a:t>
            </a:r>
            <a:endParaRPr lang="en-US" sz="2000" kern="0" dirty="0">
              <a:ln>
                <a:solidFill>
                  <a:srgbClr val="FFFFFF">
                    <a:alpha val="0"/>
                  </a:srgbClr>
                </a:solidFill>
              </a:ln>
              <a:solidFill>
                <a:srgbClr val="FFFFFF"/>
              </a:solidFill>
            </a:endParaRPr>
          </a:p>
        </p:txBody>
      </p:sp>
      <p:sp>
        <p:nvSpPr>
          <p:cNvPr id="56" name="Rectangle 55"/>
          <p:cNvSpPr/>
          <p:nvPr/>
        </p:nvSpPr>
        <p:spPr bwMode="auto">
          <a:xfrm>
            <a:off x="8306950" y="1157852"/>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smtClean="0">
                <a:ln>
                  <a:solidFill>
                    <a:srgbClr val="FFFFFF">
                      <a:alpha val="0"/>
                    </a:srgbClr>
                  </a:solidFill>
                </a:ln>
                <a:solidFill>
                  <a:srgbClr val="FFFFFF"/>
                </a:solidFill>
              </a:rPr>
              <a:t>Hadoop Batch</a:t>
            </a:r>
            <a:endParaRPr lang="en-US" sz="2000" kern="0" dirty="0">
              <a:ln>
                <a:solidFill>
                  <a:srgbClr val="FFFFFF">
                    <a:alpha val="0"/>
                  </a:srgbClr>
                </a:solidFill>
              </a:ln>
              <a:solidFill>
                <a:srgbClr val="FFFFFF"/>
              </a:solidFill>
            </a:endParaRPr>
          </a:p>
        </p:txBody>
      </p:sp>
      <p:sp>
        <p:nvSpPr>
          <p:cNvPr id="58" name="Rectangle 57"/>
          <p:cNvSpPr/>
          <p:nvPr/>
        </p:nvSpPr>
        <p:spPr bwMode="auto">
          <a:xfrm>
            <a:off x="3698814" y="1157158"/>
            <a:ext cx="2223059" cy="107505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89607" tIns="44802" rIns="89607" bIns="44802" numCol="1" spcCol="0" rtlCol="0" fromWordArt="0" anchor="t" anchorCtr="0" forceAA="0" compatLnSpc="1">
            <a:prstTxWarp prst="textNoShape">
              <a:avLst/>
            </a:prstTxWarp>
            <a:noAutofit/>
          </a:bodyPr>
          <a:lstStyle/>
          <a:p>
            <a:pPr defTabSz="1591583" fontAlgn="base">
              <a:defRPr/>
            </a:pPr>
            <a:r>
              <a:rPr lang="en-US" sz="2000" kern="0" dirty="0">
                <a:ln>
                  <a:solidFill>
                    <a:srgbClr val="FFFFFF">
                      <a:alpha val="0"/>
                    </a:srgbClr>
                  </a:solidFill>
                </a:ln>
                <a:solidFill>
                  <a:srgbClr val="FFFFFF"/>
                </a:solidFill>
              </a:rPr>
              <a:t>DocumentDB</a:t>
            </a:r>
          </a:p>
        </p:txBody>
      </p:sp>
      <p:sp>
        <p:nvSpPr>
          <p:cNvPr id="79" name="Rectangle 78"/>
          <p:cNvSpPr/>
          <p:nvPr/>
        </p:nvSpPr>
        <p:spPr bwMode="auto">
          <a:xfrm>
            <a:off x="1409151" y="3270176"/>
            <a:ext cx="6816787" cy="329184"/>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FFFFFF"/>
              </a:solidFill>
              <a:ea typeface="Segoe UI" pitchFamily="34" charset="0"/>
              <a:cs typeface="Segoe UI" pitchFamily="34" charset="0"/>
            </a:endParaRPr>
          </a:p>
        </p:txBody>
      </p:sp>
      <p:sp>
        <p:nvSpPr>
          <p:cNvPr id="81" name="Rectangle 80"/>
          <p:cNvSpPr/>
          <p:nvPr/>
        </p:nvSpPr>
        <p:spPr bwMode="auto">
          <a:xfrm>
            <a:off x="1384000" y="2336450"/>
            <a:ext cx="2254609" cy="329184"/>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FFFFFF">
                  <a:lumMod val="85000"/>
                </a:srgbClr>
              </a:solidFill>
              <a:ea typeface="Segoe UI" pitchFamily="34" charset="0"/>
              <a:cs typeface="Segoe UI" pitchFamily="34" charset="0"/>
            </a:endParaRPr>
          </a:p>
        </p:txBody>
      </p:sp>
      <p:sp>
        <p:nvSpPr>
          <p:cNvPr id="82" name="TextBox 81"/>
          <p:cNvSpPr txBox="1"/>
          <p:nvPr/>
        </p:nvSpPr>
        <p:spPr>
          <a:xfrm>
            <a:off x="1264081" y="2207186"/>
            <a:ext cx="2527826" cy="538882"/>
          </a:xfrm>
          <a:prstGeom prst="rect">
            <a:avLst/>
          </a:prstGeom>
          <a:noFill/>
        </p:spPr>
        <p:txBody>
          <a:bodyPr wrap="none" lIns="179238" tIns="143391" rIns="179238" bIns="143391" rtlCol="0">
            <a:spAutoFit/>
          </a:bodyPr>
          <a:lstStyle/>
          <a:p>
            <a:pPr defTabSz="914093">
              <a:lnSpc>
                <a:spcPct val="90000"/>
              </a:lnSpc>
              <a:defRPr/>
            </a:pPr>
            <a:r>
              <a:rPr lang="en-US" kern="0" dirty="0">
                <a:solidFill>
                  <a:srgbClr val="FFFFFF"/>
                </a:solidFill>
              </a:rPr>
              <a:t>fully featured RDBMS</a:t>
            </a:r>
          </a:p>
        </p:txBody>
      </p:sp>
      <p:sp>
        <p:nvSpPr>
          <p:cNvPr id="80" name="Rectangle 79"/>
          <p:cNvSpPr/>
          <p:nvPr/>
        </p:nvSpPr>
        <p:spPr bwMode="auto">
          <a:xfrm>
            <a:off x="1409152" y="2784202"/>
            <a:ext cx="6816786" cy="329184"/>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solidFill>
                <a:srgbClr val="FFFFFF"/>
              </a:solidFill>
              <a:ea typeface="Segoe UI" pitchFamily="34" charset="0"/>
              <a:cs typeface="Segoe UI" pitchFamily="34" charset="0"/>
            </a:endParaRPr>
          </a:p>
        </p:txBody>
      </p:sp>
      <p:sp>
        <p:nvSpPr>
          <p:cNvPr id="83" name="TextBox 82"/>
          <p:cNvSpPr txBox="1"/>
          <p:nvPr/>
        </p:nvSpPr>
        <p:spPr>
          <a:xfrm>
            <a:off x="1367148" y="3150376"/>
            <a:ext cx="2817970" cy="538882"/>
          </a:xfrm>
          <a:prstGeom prst="rect">
            <a:avLst/>
          </a:prstGeom>
          <a:noFill/>
        </p:spPr>
        <p:txBody>
          <a:bodyPr wrap="none" lIns="179238" tIns="143391" rIns="179238" bIns="143391" rtlCol="0">
            <a:spAutoFit/>
          </a:bodyPr>
          <a:lstStyle/>
          <a:p>
            <a:pPr defTabSz="914093">
              <a:lnSpc>
                <a:spcPct val="90000"/>
              </a:lnSpc>
              <a:defRPr/>
            </a:pPr>
            <a:r>
              <a:rPr lang="en-US" kern="0" dirty="0">
                <a:solidFill>
                  <a:srgbClr val="FFFFFF"/>
                </a:solidFill>
              </a:rPr>
              <a:t>transactional processing</a:t>
            </a:r>
          </a:p>
        </p:txBody>
      </p:sp>
      <p:sp>
        <p:nvSpPr>
          <p:cNvPr id="84" name="TextBox 83"/>
          <p:cNvSpPr txBox="1"/>
          <p:nvPr/>
        </p:nvSpPr>
        <p:spPr>
          <a:xfrm>
            <a:off x="1384000" y="2656718"/>
            <a:ext cx="1448428" cy="538882"/>
          </a:xfrm>
          <a:prstGeom prst="rect">
            <a:avLst/>
          </a:prstGeom>
          <a:noFill/>
        </p:spPr>
        <p:txBody>
          <a:bodyPr wrap="none" lIns="179238" tIns="143391" rIns="179238" bIns="143391" rtlCol="0">
            <a:spAutoFit/>
          </a:bodyPr>
          <a:lstStyle/>
          <a:p>
            <a:pPr defTabSz="914093">
              <a:lnSpc>
                <a:spcPct val="90000"/>
              </a:lnSpc>
              <a:defRPr/>
            </a:pPr>
            <a:r>
              <a:rPr lang="en-US" kern="0" dirty="0">
                <a:solidFill>
                  <a:srgbClr val="FFFFFF"/>
                </a:solidFill>
              </a:rPr>
              <a:t>rich query </a:t>
            </a:r>
          </a:p>
        </p:txBody>
      </p:sp>
      <p:sp>
        <p:nvSpPr>
          <p:cNvPr id="85" name="Rectangle 84"/>
          <p:cNvSpPr/>
          <p:nvPr/>
        </p:nvSpPr>
        <p:spPr bwMode="auto">
          <a:xfrm>
            <a:off x="1388016" y="4187128"/>
            <a:ext cx="9141991"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1388016" y="3720326"/>
            <a:ext cx="9141990"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TextBox 86"/>
          <p:cNvSpPr txBox="1"/>
          <p:nvPr/>
        </p:nvSpPr>
        <p:spPr>
          <a:xfrm>
            <a:off x="5243541" y="3607389"/>
            <a:ext cx="5286463"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managed as a service</a:t>
            </a:r>
          </a:p>
        </p:txBody>
      </p:sp>
      <p:sp>
        <p:nvSpPr>
          <p:cNvPr id="88" name="TextBox 87"/>
          <p:cNvSpPr txBox="1"/>
          <p:nvPr/>
        </p:nvSpPr>
        <p:spPr>
          <a:xfrm>
            <a:off x="7216301" y="4073462"/>
            <a:ext cx="3313704"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elastic scale</a:t>
            </a:r>
          </a:p>
        </p:txBody>
      </p:sp>
      <p:sp>
        <p:nvSpPr>
          <p:cNvPr id="89" name="Rectangle 88"/>
          <p:cNvSpPr/>
          <p:nvPr/>
        </p:nvSpPr>
        <p:spPr bwMode="auto">
          <a:xfrm>
            <a:off x="3698128" y="5120732"/>
            <a:ext cx="6831881"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bwMode="auto">
          <a:xfrm>
            <a:off x="3698128" y="4654270"/>
            <a:ext cx="6831881" cy="32673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TextBox 90"/>
          <p:cNvSpPr txBox="1"/>
          <p:nvPr/>
        </p:nvSpPr>
        <p:spPr>
          <a:xfrm>
            <a:off x="5777778" y="5037761"/>
            <a:ext cx="4752228"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internet accessible http/rest</a:t>
            </a:r>
          </a:p>
        </p:txBody>
      </p:sp>
      <p:sp>
        <p:nvSpPr>
          <p:cNvPr id="92" name="TextBox 91"/>
          <p:cNvSpPr txBox="1"/>
          <p:nvPr/>
        </p:nvSpPr>
        <p:spPr>
          <a:xfrm>
            <a:off x="6417851" y="4550682"/>
            <a:ext cx="4112148" cy="533917"/>
          </a:xfrm>
          <a:prstGeom prst="rect">
            <a:avLst/>
          </a:prstGeom>
          <a:noFill/>
        </p:spPr>
        <p:txBody>
          <a:bodyPr wrap="square" lIns="179238" tIns="143391" rIns="179238" bIns="143391" rtlCol="0">
            <a:spAutoFit/>
          </a:bodyPr>
          <a:lstStyle/>
          <a:p>
            <a:pPr algn="r" defTabSz="914093">
              <a:lnSpc>
                <a:spcPct val="90000"/>
              </a:lnSpc>
              <a:defRPr/>
            </a:pPr>
            <a:r>
              <a:rPr lang="en-US" kern="0" dirty="0">
                <a:solidFill>
                  <a:srgbClr val="FFFFFF"/>
                </a:solidFill>
              </a:rPr>
              <a:t>schema-free data model</a:t>
            </a:r>
          </a:p>
        </p:txBody>
      </p:sp>
      <p:pic>
        <p:nvPicPr>
          <p:cNvPr id="95" name="Picture 9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290284" y="1630917"/>
            <a:ext cx="530352" cy="530352"/>
          </a:xfrm>
          <a:prstGeom prst="rect">
            <a:avLst/>
          </a:prstGeom>
        </p:spPr>
      </p:pic>
      <p:pic>
        <p:nvPicPr>
          <p:cNvPr id="97" name="Picture 96"/>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2988273" y="1629298"/>
            <a:ext cx="533591" cy="533591"/>
          </a:xfrm>
          <a:prstGeom prst="rect">
            <a:avLst/>
          </a:prstGeom>
        </p:spPr>
      </p:pic>
      <p:pic>
        <p:nvPicPr>
          <p:cNvPr id="98" name="Picture 9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9329335" y="1630917"/>
            <a:ext cx="530352" cy="530352"/>
          </a:xfrm>
          <a:prstGeom prst="rect">
            <a:avLst/>
          </a:prstGeom>
        </p:spPr>
      </p:pic>
      <p:pic>
        <p:nvPicPr>
          <p:cNvPr id="99" name="Picture 98"/>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940698" y="1630917"/>
            <a:ext cx="530352" cy="530352"/>
          </a:xfrm>
          <a:prstGeom prst="rect">
            <a:avLst/>
          </a:prstGeom>
        </p:spPr>
      </p:pic>
      <p:pic>
        <p:nvPicPr>
          <p:cNvPr id="36" name="Picture 35"/>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7463733" y="1547013"/>
            <a:ext cx="664049" cy="664049"/>
          </a:xfrm>
          <a:prstGeom prst="rect">
            <a:avLst/>
          </a:prstGeom>
        </p:spPr>
      </p:pic>
      <p:sp>
        <p:nvSpPr>
          <p:cNvPr id="37" name="Rectangle 36"/>
          <p:cNvSpPr/>
          <p:nvPr/>
        </p:nvSpPr>
        <p:spPr bwMode="auto">
          <a:xfrm>
            <a:off x="8306258" y="5587193"/>
            <a:ext cx="2223749" cy="329184"/>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Box 37"/>
          <p:cNvSpPr txBox="1"/>
          <p:nvPr/>
        </p:nvSpPr>
        <p:spPr>
          <a:xfrm>
            <a:off x="7342748" y="5491704"/>
            <a:ext cx="3354278" cy="533917"/>
          </a:xfrm>
          <a:prstGeom prst="rect">
            <a:avLst/>
          </a:prstGeom>
          <a:noFill/>
        </p:spPr>
        <p:txBody>
          <a:bodyPr wrap="square" lIns="179238" tIns="143391" rIns="179238" bIns="143391" rtlCol="0">
            <a:spAutoFit/>
          </a:bodyPr>
          <a:lstStyle>
            <a:defPPr>
              <a:defRPr lang="en-US"/>
            </a:defPPr>
            <a:lvl1pPr>
              <a:lnSpc>
                <a:spcPct val="90000"/>
              </a:lnSpc>
              <a:defRPr>
                <a:solidFill>
                  <a:schemeClr val="bg2">
                    <a:lumMod val="75000"/>
                  </a:schemeClr>
                </a:solidFill>
              </a:defRPr>
            </a:lvl1pPr>
          </a:lstStyle>
          <a:p>
            <a:pPr marL="0" marR="0" lvl="0" indent="0" algn="r" defTabSz="914093"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rPr>
              <a:t>arbitrary data formats</a:t>
            </a:r>
          </a:p>
        </p:txBody>
      </p:sp>
      <p:sp>
        <p:nvSpPr>
          <p:cNvPr id="35" name="Rectangle 34"/>
          <p:cNvSpPr/>
          <p:nvPr/>
        </p:nvSpPr>
        <p:spPr bwMode="auto">
          <a:xfrm>
            <a:off x="1409151" y="6144157"/>
            <a:ext cx="9118649" cy="548640"/>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2352" kern="0" dirty="0" smtClean="0">
                <a:solidFill>
                  <a:srgbClr val="FFFFFF"/>
                </a:solidFill>
                <a:ea typeface="Segoe UI" pitchFamily="34" charset="0"/>
                <a:cs typeface="Segoe UI" pitchFamily="34" charset="0"/>
              </a:rPr>
              <a:t>Streaming and Search</a:t>
            </a:r>
            <a:endParaRPr lang="en-US" sz="2352" kern="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0723442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Effect transition="in" filter="fade">
                                      <p:cBhvr>
                                        <p:cTn id="9" dur="500"/>
                                        <p:tgtEl>
                                          <p:spTgt spid="5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p:cTn id="12" dur="500" fill="hold"/>
                                        <p:tgtEl>
                                          <p:spTgt spid="51"/>
                                        </p:tgtEl>
                                        <p:attrNameLst>
                                          <p:attrName>ppt_w</p:attrName>
                                        </p:attrNameLst>
                                      </p:cBhvr>
                                      <p:tavLst>
                                        <p:tav tm="0">
                                          <p:val>
                                            <p:fltVal val="0"/>
                                          </p:val>
                                        </p:tav>
                                        <p:tav tm="100000">
                                          <p:val>
                                            <p:strVal val="#ppt_w"/>
                                          </p:val>
                                        </p:tav>
                                      </p:tavLst>
                                    </p:anim>
                                    <p:anim calcmode="lin" valueType="num">
                                      <p:cBhvr>
                                        <p:cTn id="13" dur="500" fill="hold"/>
                                        <p:tgtEl>
                                          <p:spTgt spid="51"/>
                                        </p:tgtEl>
                                        <p:attrNameLst>
                                          <p:attrName>ppt_h</p:attrName>
                                        </p:attrNameLst>
                                      </p:cBhvr>
                                      <p:tavLst>
                                        <p:tav tm="0">
                                          <p:val>
                                            <p:fltVal val="0"/>
                                          </p:val>
                                        </p:tav>
                                        <p:tav tm="100000">
                                          <p:val>
                                            <p:strVal val="#ppt_h"/>
                                          </p:val>
                                        </p:tav>
                                      </p:tavLst>
                                    </p:anim>
                                    <p:animEffect transition="in" filter="fade">
                                      <p:cBhvr>
                                        <p:cTn id="14" dur="500"/>
                                        <p:tgtEl>
                                          <p:spTgt spid="51"/>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2"/>
                                        </p:tgtEl>
                                        <p:attrNameLst>
                                          <p:attrName>style.visibility</p:attrName>
                                        </p:attrNameLst>
                                      </p:cBhvr>
                                      <p:to>
                                        <p:strVal val="visible"/>
                                      </p:to>
                                    </p:set>
                                    <p:anim calcmode="lin" valueType="num">
                                      <p:cBhvr>
                                        <p:cTn id="17" dur="500" fill="hold"/>
                                        <p:tgtEl>
                                          <p:spTgt spid="52"/>
                                        </p:tgtEl>
                                        <p:attrNameLst>
                                          <p:attrName>ppt_w</p:attrName>
                                        </p:attrNameLst>
                                      </p:cBhvr>
                                      <p:tavLst>
                                        <p:tav tm="0">
                                          <p:val>
                                            <p:fltVal val="0"/>
                                          </p:val>
                                        </p:tav>
                                        <p:tav tm="100000">
                                          <p:val>
                                            <p:strVal val="#ppt_w"/>
                                          </p:val>
                                        </p:tav>
                                      </p:tavLst>
                                    </p:anim>
                                    <p:anim calcmode="lin" valueType="num">
                                      <p:cBhvr>
                                        <p:cTn id="18" dur="500" fill="hold"/>
                                        <p:tgtEl>
                                          <p:spTgt spid="52"/>
                                        </p:tgtEl>
                                        <p:attrNameLst>
                                          <p:attrName>ppt_h</p:attrName>
                                        </p:attrNameLst>
                                      </p:cBhvr>
                                      <p:tavLst>
                                        <p:tav tm="0">
                                          <p:val>
                                            <p:fltVal val="0"/>
                                          </p:val>
                                        </p:tav>
                                        <p:tav tm="100000">
                                          <p:val>
                                            <p:strVal val="#ppt_h"/>
                                          </p:val>
                                        </p:tav>
                                      </p:tavLst>
                                    </p:anim>
                                    <p:animEffect transition="in" filter="fade">
                                      <p:cBhvr>
                                        <p:cTn id="19" dur="500"/>
                                        <p:tgtEl>
                                          <p:spTgt spid="52"/>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3"/>
                                        </p:tgtEl>
                                        <p:attrNameLst>
                                          <p:attrName>style.visibility</p:attrName>
                                        </p:attrNameLst>
                                      </p:cBhvr>
                                      <p:to>
                                        <p:strVal val="visible"/>
                                      </p:to>
                                    </p:set>
                                    <p:anim calcmode="lin" valueType="num">
                                      <p:cBhvr>
                                        <p:cTn id="22" dur="500" fill="hold"/>
                                        <p:tgtEl>
                                          <p:spTgt spid="53"/>
                                        </p:tgtEl>
                                        <p:attrNameLst>
                                          <p:attrName>ppt_w</p:attrName>
                                        </p:attrNameLst>
                                      </p:cBhvr>
                                      <p:tavLst>
                                        <p:tav tm="0">
                                          <p:val>
                                            <p:fltVal val="0"/>
                                          </p:val>
                                        </p:tav>
                                        <p:tav tm="100000">
                                          <p:val>
                                            <p:strVal val="#ppt_w"/>
                                          </p:val>
                                        </p:tav>
                                      </p:tavLst>
                                    </p:anim>
                                    <p:anim calcmode="lin" valueType="num">
                                      <p:cBhvr>
                                        <p:cTn id="23" dur="500" fill="hold"/>
                                        <p:tgtEl>
                                          <p:spTgt spid="53"/>
                                        </p:tgtEl>
                                        <p:attrNameLst>
                                          <p:attrName>ppt_h</p:attrName>
                                        </p:attrNameLst>
                                      </p:cBhvr>
                                      <p:tavLst>
                                        <p:tav tm="0">
                                          <p:val>
                                            <p:fltVal val="0"/>
                                          </p:val>
                                        </p:tav>
                                        <p:tav tm="100000">
                                          <p:val>
                                            <p:strVal val="#ppt_h"/>
                                          </p:val>
                                        </p:tav>
                                      </p:tavLst>
                                    </p:anim>
                                    <p:animEffect transition="in" filter="fade">
                                      <p:cBhvr>
                                        <p:cTn id="24" dur="500"/>
                                        <p:tgtEl>
                                          <p:spTgt spid="53"/>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 calcmode="lin" valueType="num">
                                      <p:cBhvr>
                                        <p:cTn id="27" dur="500" fill="hold"/>
                                        <p:tgtEl>
                                          <p:spTgt spid="54"/>
                                        </p:tgtEl>
                                        <p:attrNameLst>
                                          <p:attrName>ppt_w</p:attrName>
                                        </p:attrNameLst>
                                      </p:cBhvr>
                                      <p:tavLst>
                                        <p:tav tm="0">
                                          <p:val>
                                            <p:fltVal val="0"/>
                                          </p:val>
                                        </p:tav>
                                        <p:tav tm="100000">
                                          <p:val>
                                            <p:strVal val="#ppt_w"/>
                                          </p:val>
                                        </p:tav>
                                      </p:tavLst>
                                    </p:anim>
                                    <p:anim calcmode="lin" valueType="num">
                                      <p:cBhvr>
                                        <p:cTn id="28" dur="500" fill="hold"/>
                                        <p:tgtEl>
                                          <p:spTgt spid="54"/>
                                        </p:tgtEl>
                                        <p:attrNameLst>
                                          <p:attrName>ppt_h</p:attrName>
                                        </p:attrNameLst>
                                      </p:cBhvr>
                                      <p:tavLst>
                                        <p:tav tm="0">
                                          <p:val>
                                            <p:fltVal val="0"/>
                                          </p:val>
                                        </p:tav>
                                        <p:tav tm="100000">
                                          <p:val>
                                            <p:strVal val="#ppt_h"/>
                                          </p:val>
                                        </p:tav>
                                      </p:tavLst>
                                    </p:anim>
                                    <p:animEffect transition="in" filter="fade">
                                      <p:cBhvr>
                                        <p:cTn id="29" dur="500"/>
                                        <p:tgtEl>
                                          <p:spTgt spid="54"/>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55"/>
                                        </p:tgtEl>
                                        <p:attrNameLst>
                                          <p:attrName>style.visibility</p:attrName>
                                        </p:attrNameLst>
                                      </p:cBhvr>
                                      <p:to>
                                        <p:strVal val="visible"/>
                                      </p:to>
                                    </p:set>
                                    <p:anim calcmode="lin" valueType="num">
                                      <p:cBhvr>
                                        <p:cTn id="32" dur="500" fill="hold"/>
                                        <p:tgtEl>
                                          <p:spTgt spid="55"/>
                                        </p:tgtEl>
                                        <p:attrNameLst>
                                          <p:attrName>ppt_w</p:attrName>
                                        </p:attrNameLst>
                                      </p:cBhvr>
                                      <p:tavLst>
                                        <p:tav tm="0">
                                          <p:val>
                                            <p:fltVal val="0"/>
                                          </p:val>
                                        </p:tav>
                                        <p:tav tm="100000">
                                          <p:val>
                                            <p:strVal val="#ppt_w"/>
                                          </p:val>
                                        </p:tav>
                                      </p:tavLst>
                                    </p:anim>
                                    <p:anim calcmode="lin" valueType="num">
                                      <p:cBhvr>
                                        <p:cTn id="33" dur="500" fill="hold"/>
                                        <p:tgtEl>
                                          <p:spTgt spid="55"/>
                                        </p:tgtEl>
                                        <p:attrNameLst>
                                          <p:attrName>ppt_h</p:attrName>
                                        </p:attrNameLst>
                                      </p:cBhvr>
                                      <p:tavLst>
                                        <p:tav tm="0">
                                          <p:val>
                                            <p:fltVal val="0"/>
                                          </p:val>
                                        </p:tav>
                                        <p:tav tm="100000">
                                          <p:val>
                                            <p:strVal val="#ppt_h"/>
                                          </p:val>
                                        </p:tav>
                                      </p:tavLst>
                                    </p:anim>
                                    <p:animEffect transition="in" filter="fade">
                                      <p:cBhvr>
                                        <p:cTn id="34" dur="500"/>
                                        <p:tgtEl>
                                          <p:spTgt spid="55"/>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56"/>
                                        </p:tgtEl>
                                        <p:attrNameLst>
                                          <p:attrName>style.visibility</p:attrName>
                                        </p:attrNameLst>
                                      </p:cBhvr>
                                      <p:to>
                                        <p:strVal val="visible"/>
                                      </p:to>
                                    </p:set>
                                    <p:anim calcmode="lin" valueType="num">
                                      <p:cBhvr>
                                        <p:cTn id="37" dur="500" fill="hold"/>
                                        <p:tgtEl>
                                          <p:spTgt spid="56"/>
                                        </p:tgtEl>
                                        <p:attrNameLst>
                                          <p:attrName>ppt_w</p:attrName>
                                        </p:attrNameLst>
                                      </p:cBhvr>
                                      <p:tavLst>
                                        <p:tav tm="0">
                                          <p:val>
                                            <p:fltVal val="0"/>
                                          </p:val>
                                        </p:tav>
                                        <p:tav tm="100000">
                                          <p:val>
                                            <p:strVal val="#ppt_w"/>
                                          </p:val>
                                        </p:tav>
                                      </p:tavLst>
                                    </p:anim>
                                    <p:anim calcmode="lin" valueType="num">
                                      <p:cBhvr>
                                        <p:cTn id="38" dur="500" fill="hold"/>
                                        <p:tgtEl>
                                          <p:spTgt spid="56"/>
                                        </p:tgtEl>
                                        <p:attrNameLst>
                                          <p:attrName>ppt_h</p:attrName>
                                        </p:attrNameLst>
                                      </p:cBhvr>
                                      <p:tavLst>
                                        <p:tav tm="0">
                                          <p:val>
                                            <p:fltVal val="0"/>
                                          </p:val>
                                        </p:tav>
                                        <p:tav tm="100000">
                                          <p:val>
                                            <p:strVal val="#ppt_h"/>
                                          </p:val>
                                        </p:tav>
                                      </p:tavLst>
                                    </p:anim>
                                    <p:animEffect transition="in" filter="fade">
                                      <p:cBhvr>
                                        <p:cTn id="39" dur="500"/>
                                        <p:tgtEl>
                                          <p:spTgt spid="56"/>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58"/>
                                        </p:tgtEl>
                                        <p:attrNameLst>
                                          <p:attrName>style.visibility</p:attrName>
                                        </p:attrNameLst>
                                      </p:cBhvr>
                                      <p:to>
                                        <p:strVal val="visible"/>
                                      </p:to>
                                    </p:set>
                                    <p:anim calcmode="lin" valueType="num">
                                      <p:cBhvr>
                                        <p:cTn id="42" dur="500" fill="hold"/>
                                        <p:tgtEl>
                                          <p:spTgt spid="58"/>
                                        </p:tgtEl>
                                        <p:attrNameLst>
                                          <p:attrName>ppt_w</p:attrName>
                                        </p:attrNameLst>
                                      </p:cBhvr>
                                      <p:tavLst>
                                        <p:tav tm="0">
                                          <p:val>
                                            <p:fltVal val="0"/>
                                          </p:val>
                                        </p:tav>
                                        <p:tav tm="100000">
                                          <p:val>
                                            <p:strVal val="#ppt_w"/>
                                          </p:val>
                                        </p:tav>
                                      </p:tavLst>
                                    </p:anim>
                                    <p:anim calcmode="lin" valueType="num">
                                      <p:cBhvr>
                                        <p:cTn id="43" dur="500" fill="hold"/>
                                        <p:tgtEl>
                                          <p:spTgt spid="58"/>
                                        </p:tgtEl>
                                        <p:attrNameLst>
                                          <p:attrName>ppt_h</p:attrName>
                                        </p:attrNameLst>
                                      </p:cBhvr>
                                      <p:tavLst>
                                        <p:tav tm="0">
                                          <p:val>
                                            <p:fltVal val="0"/>
                                          </p:val>
                                        </p:tav>
                                        <p:tav tm="100000">
                                          <p:val>
                                            <p:strVal val="#ppt_h"/>
                                          </p:val>
                                        </p:tav>
                                      </p:tavLst>
                                    </p:anim>
                                    <p:animEffect transition="in" filter="fade">
                                      <p:cBhvr>
                                        <p:cTn id="44" dur="500"/>
                                        <p:tgtEl>
                                          <p:spTgt spid="58"/>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9"/>
                                        </p:tgtEl>
                                        <p:attrNameLst>
                                          <p:attrName>style.visibility</p:attrName>
                                        </p:attrNameLst>
                                      </p:cBhvr>
                                      <p:to>
                                        <p:strVal val="visible"/>
                                      </p:to>
                                    </p:set>
                                    <p:anim calcmode="lin" valueType="num">
                                      <p:cBhvr>
                                        <p:cTn id="47" dur="500" fill="hold"/>
                                        <p:tgtEl>
                                          <p:spTgt spid="79"/>
                                        </p:tgtEl>
                                        <p:attrNameLst>
                                          <p:attrName>ppt_w</p:attrName>
                                        </p:attrNameLst>
                                      </p:cBhvr>
                                      <p:tavLst>
                                        <p:tav tm="0">
                                          <p:val>
                                            <p:fltVal val="0"/>
                                          </p:val>
                                        </p:tav>
                                        <p:tav tm="100000">
                                          <p:val>
                                            <p:strVal val="#ppt_w"/>
                                          </p:val>
                                        </p:tav>
                                      </p:tavLst>
                                    </p:anim>
                                    <p:anim calcmode="lin" valueType="num">
                                      <p:cBhvr>
                                        <p:cTn id="48" dur="500" fill="hold"/>
                                        <p:tgtEl>
                                          <p:spTgt spid="79"/>
                                        </p:tgtEl>
                                        <p:attrNameLst>
                                          <p:attrName>ppt_h</p:attrName>
                                        </p:attrNameLst>
                                      </p:cBhvr>
                                      <p:tavLst>
                                        <p:tav tm="0">
                                          <p:val>
                                            <p:fltVal val="0"/>
                                          </p:val>
                                        </p:tav>
                                        <p:tav tm="100000">
                                          <p:val>
                                            <p:strVal val="#ppt_h"/>
                                          </p:val>
                                        </p:tav>
                                      </p:tavLst>
                                    </p:anim>
                                    <p:animEffect transition="in" filter="fade">
                                      <p:cBhvr>
                                        <p:cTn id="49" dur="500"/>
                                        <p:tgtEl>
                                          <p:spTgt spid="79"/>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81"/>
                                        </p:tgtEl>
                                        <p:attrNameLst>
                                          <p:attrName>style.visibility</p:attrName>
                                        </p:attrNameLst>
                                      </p:cBhvr>
                                      <p:to>
                                        <p:strVal val="visible"/>
                                      </p:to>
                                    </p:set>
                                    <p:anim calcmode="lin" valueType="num">
                                      <p:cBhvr>
                                        <p:cTn id="52" dur="500" fill="hold"/>
                                        <p:tgtEl>
                                          <p:spTgt spid="81"/>
                                        </p:tgtEl>
                                        <p:attrNameLst>
                                          <p:attrName>ppt_w</p:attrName>
                                        </p:attrNameLst>
                                      </p:cBhvr>
                                      <p:tavLst>
                                        <p:tav tm="0">
                                          <p:val>
                                            <p:fltVal val="0"/>
                                          </p:val>
                                        </p:tav>
                                        <p:tav tm="100000">
                                          <p:val>
                                            <p:strVal val="#ppt_w"/>
                                          </p:val>
                                        </p:tav>
                                      </p:tavLst>
                                    </p:anim>
                                    <p:anim calcmode="lin" valueType="num">
                                      <p:cBhvr>
                                        <p:cTn id="53" dur="500" fill="hold"/>
                                        <p:tgtEl>
                                          <p:spTgt spid="81"/>
                                        </p:tgtEl>
                                        <p:attrNameLst>
                                          <p:attrName>ppt_h</p:attrName>
                                        </p:attrNameLst>
                                      </p:cBhvr>
                                      <p:tavLst>
                                        <p:tav tm="0">
                                          <p:val>
                                            <p:fltVal val="0"/>
                                          </p:val>
                                        </p:tav>
                                        <p:tav tm="100000">
                                          <p:val>
                                            <p:strVal val="#ppt_h"/>
                                          </p:val>
                                        </p:tav>
                                      </p:tavLst>
                                    </p:anim>
                                    <p:animEffect transition="in" filter="fade">
                                      <p:cBhvr>
                                        <p:cTn id="54" dur="500"/>
                                        <p:tgtEl>
                                          <p:spTgt spid="81"/>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82"/>
                                        </p:tgtEl>
                                        <p:attrNameLst>
                                          <p:attrName>style.visibility</p:attrName>
                                        </p:attrNameLst>
                                      </p:cBhvr>
                                      <p:to>
                                        <p:strVal val="visible"/>
                                      </p:to>
                                    </p:set>
                                    <p:anim calcmode="lin" valueType="num">
                                      <p:cBhvr>
                                        <p:cTn id="57" dur="500" fill="hold"/>
                                        <p:tgtEl>
                                          <p:spTgt spid="82"/>
                                        </p:tgtEl>
                                        <p:attrNameLst>
                                          <p:attrName>ppt_w</p:attrName>
                                        </p:attrNameLst>
                                      </p:cBhvr>
                                      <p:tavLst>
                                        <p:tav tm="0">
                                          <p:val>
                                            <p:fltVal val="0"/>
                                          </p:val>
                                        </p:tav>
                                        <p:tav tm="100000">
                                          <p:val>
                                            <p:strVal val="#ppt_w"/>
                                          </p:val>
                                        </p:tav>
                                      </p:tavLst>
                                    </p:anim>
                                    <p:anim calcmode="lin" valueType="num">
                                      <p:cBhvr>
                                        <p:cTn id="58" dur="500" fill="hold"/>
                                        <p:tgtEl>
                                          <p:spTgt spid="82"/>
                                        </p:tgtEl>
                                        <p:attrNameLst>
                                          <p:attrName>ppt_h</p:attrName>
                                        </p:attrNameLst>
                                      </p:cBhvr>
                                      <p:tavLst>
                                        <p:tav tm="0">
                                          <p:val>
                                            <p:fltVal val="0"/>
                                          </p:val>
                                        </p:tav>
                                        <p:tav tm="100000">
                                          <p:val>
                                            <p:strVal val="#ppt_h"/>
                                          </p:val>
                                        </p:tav>
                                      </p:tavLst>
                                    </p:anim>
                                    <p:animEffect transition="in" filter="fade">
                                      <p:cBhvr>
                                        <p:cTn id="59" dur="500"/>
                                        <p:tgtEl>
                                          <p:spTgt spid="8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84"/>
                                        </p:tgtEl>
                                        <p:attrNameLst>
                                          <p:attrName>style.visibility</p:attrName>
                                        </p:attrNameLst>
                                      </p:cBhvr>
                                      <p:to>
                                        <p:strVal val="visible"/>
                                      </p:to>
                                    </p:set>
                                    <p:anim calcmode="lin" valueType="num">
                                      <p:cBhvr>
                                        <p:cTn id="62" dur="500" fill="hold"/>
                                        <p:tgtEl>
                                          <p:spTgt spid="84"/>
                                        </p:tgtEl>
                                        <p:attrNameLst>
                                          <p:attrName>ppt_w</p:attrName>
                                        </p:attrNameLst>
                                      </p:cBhvr>
                                      <p:tavLst>
                                        <p:tav tm="0">
                                          <p:val>
                                            <p:fltVal val="0"/>
                                          </p:val>
                                        </p:tav>
                                        <p:tav tm="100000">
                                          <p:val>
                                            <p:strVal val="#ppt_w"/>
                                          </p:val>
                                        </p:tav>
                                      </p:tavLst>
                                    </p:anim>
                                    <p:anim calcmode="lin" valueType="num">
                                      <p:cBhvr>
                                        <p:cTn id="63" dur="500" fill="hold"/>
                                        <p:tgtEl>
                                          <p:spTgt spid="84"/>
                                        </p:tgtEl>
                                        <p:attrNameLst>
                                          <p:attrName>ppt_h</p:attrName>
                                        </p:attrNameLst>
                                      </p:cBhvr>
                                      <p:tavLst>
                                        <p:tav tm="0">
                                          <p:val>
                                            <p:fltVal val="0"/>
                                          </p:val>
                                        </p:tav>
                                        <p:tav tm="100000">
                                          <p:val>
                                            <p:strVal val="#ppt_h"/>
                                          </p:val>
                                        </p:tav>
                                      </p:tavLst>
                                    </p:anim>
                                    <p:animEffect transition="in" filter="fade">
                                      <p:cBhvr>
                                        <p:cTn id="64" dur="500"/>
                                        <p:tgtEl>
                                          <p:spTgt spid="84"/>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85"/>
                                        </p:tgtEl>
                                        <p:attrNameLst>
                                          <p:attrName>style.visibility</p:attrName>
                                        </p:attrNameLst>
                                      </p:cBhvr>
                                      <p:to>
                                        <p:strVal val="visible"/>
                                      </p:to>
                                    </p:set>
                                    <p:anim calcmode="lin" valueType="num">
                                      <p:cBhvr>
                                        <p:cTn id="67" dur="500" fill="hold"/>
                                        <p:tgtEl>
                                          <p:spTgt spid="85"/>
                                        </p:tgtEl>
                                        <p:attrNameLst>
                                          <p:attrName>ppt_w</p:attrName>
                                        </p:attrNameLst>
                                      </p:cBhvr>
                                      <p:tavLst>
                                        <p:tav tm="0">
                                          <p:val>
                                            <p:fltVal val="0"/>
                                          </p:val>
                                        </p:tav>
                                        <p:tav tm="100000">
                                          <p:val>
                                            <p:strVal val="#ppt_w"/>
                                          </p:val>
                                        </p:tav>
                                      </p:tavLst>
                                    </p:anim>
                                    <p:anim calcmode="lin" valueType="num">
                                      <p:cBhvr>
                                        <p:cTn id="68" dur="500" fill="hold"/>
                                        <p:tgtEl>
                                          <p:spTgt spid="85"/>
                                        </p:tgtEl>
                                        <p:attrNameLst>
                                          <p:attrName>ppt_h</p:attrName>
                                        </p:attrNameLst>
                                      </p:cBhvr>
                                      <p:tavLst>
                                        <p:tav tm="0">
                                          <p:val>
                                            <p:fltVal val="0"/>
                                          </p:val>
                                        </p:tav>
                                        <p:tav tm="100000">
                                          <p:val>
                                            <p:strVal val="#ppt_h"/>
                                          </p:val>
                                        </p:tav>
                                      </p:tavLst>
                                    </p:anim>
                                    <p:animEffect transition="in" filter="fade">
                                      <p:cBhvr>
                                        <p:cTn id="69" dur="500"/>
                                        <p:tgtEl>
                                          <p:spTgt spid="85"/>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86"/>
                                        </p:tgtEl>
                                        <p:attrNameLst>
                                          <p:attrName>style.visibility</p:attrName>
                                        </p:attrNameLst>
                                      </p:cBhvr>
                                      <p:to>
                                        <p:strVal val="visible"/>
                                      </p:to>
                                    </p:set>
                                    <p:anim calcmode="lin" valueType="num">
                                      <p:cBhvr>
                                        <p:cTn id="72" dur="500" fill="hold"/>
                                        <p:tgtEl>
                                          <p:spTgt spid="86"/>
                                        </p:tgtEl>
                                        <p:attrNameLst>
                                          <p:attrName>ppt_w</p:attrName>
                                        </p:attrNameLst>
                                      </p:cBhvr>
                                      <p:tavLst>
                                        <p:tav tm="0">
                                          <p:val>
                                            <p:fltVal val="0"/>
                                          </p:val>
                                        </p:tav>
                                        <p:tav tm="100000">
                                          <p:val>
                                            <p:strVal val="#ppt_w"/>
                                          </p:val>
                                        </p:tav>
                                      </p:tavLst>
                                    </p:anim>
                                    <p:anim calcmode="lin" valueType="num">
                                      <p:cBhvr>
                                        <p:cTn id="73" dur="500" fill="hold"/>
                                        <p:tgtEl>
                                          <p:spTgt spid="86"/>
                                        </p:tgtEl>
                                        <p:attrNameLst>
                                          <p:attrName>ppt_h</p:attrName>
                                        </p:attrNameLst>
                                      </p:cBhvr>
                                      <p:tavLst>
                                        <p:tav tm="0">
                                          <p:val>
                                            <p:fltVal val="0"/>
                                          </p:val>
                                        </p:tav>
                                        <p:tav tm="100000">
                                          <p:val>
                                            <p:strVal val="#ppt_h"/>
                                          </p:val>
                                        </p:tav>
                                      </p:tavLst>
                                    </p:anim>
                                    <p:animEffect transition="in" filter="fade">
                                      <p:cBhvr>
                                        <p:cTn id="74" dur="500"/>
                                        <p:tgtEl>
                                          <p:spTgt spid="86"/>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87"/>
                                        </p:tgtEl>
                                        <p:attrNameLst>
                                          <p:attrName>style.visibility</p:attrName>
                                        </p:attrNameLst>
                                      </p:cBhvr>
                                      <p:to>
                                        <p:strVal val="visible"/>
                                      </p:to>
                                    </p:set>
                                    <p:anim calcmode="lin" valueType="num">
                                      <p:cBhvr>
                                        <p:cTn id="77" dur="500" fill="hold"/>
                                        <p:tgtEl>
                                          <p:spTgt spid="87"/>
                                        </p:tgtEl>
                                        <p:attrNameLst>
                                          <p:attrName>ppt_w</p:attrName>
                                        </p:attrNameLst>
                                      </p:cBhvr>
                                      <p:tavLst>
                                        <p:tav tm="0">
                                          <p:val>
                                            <p:fltVal val="0"/>
                                          </p:val>
                                        </p:tav>
                                        <p:tav tm="100000">
                                          <p:val>
                                            <p:strVal val="#ppt_w"/>
                                          </p:val>
                                        </p:tav>
                                      </p:tavLst>
                                    </p:anim>
                                    <p:anim calcmode="lin" valueType="num">
                                      <p:cBhvr>
                                        <p:cTn id="78" dur="500" fill="hold"/>
                                        <p:tgtEl>
                                          <p:spTgt spid="87"/>
                                        </p:tgtEl>
                                        <p:attrNameLst>
                                          <p:attrName>ppt_h</p:attrName>
                                        </p:attrNameLst>
                                      </p:cBhvr>
                                      <p:tavLst>
                                        <p:tav tm="0">
                                          <p:val>
                                            <p:fltVal val="0"/>
                                          </p:val>
                                        </p:tav>
                                        <p:tav tm="100000">
                                          <p:val>
                                            <p:strVal val="#ppt_h"/>
                                          </p:val>
                                        </p:tav>
                                      </p:tavLst>
                                    </p:anim>
                                    <p:animEffect transition="in" filter="fade">
                                      <p:cBhvr>
                                        <p:cTn id="79" dur="500"/>
                                        <p:tgtEl>
                                          <p:spTgt spid="87"/>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88"/>
                                        </p:tgtEl>
                                        <p:attrNameLst>
                                          <p:attrName>style.visibility</p:attrName>
                                        </p:attrNameLst>
                                      </p:cBhvr>
                                      <p:to>
                                        <p:strVal val="visible"/>
                                      </p:to>
                                    </p:set>
                                    <p:anim calcmode="lin" valueType="num">
                                      <p:cBhvr>
                                        <p:cTn id="82" dur="500" fill="hold"/>
                                        <p:tgtEl>
                                          <p:spTgt spid="88"/>
                                        </p:tgtEl>
                                        <p:attrNameLst>
                                          <p:attrName>ppt_w</p:attrName>
                                        </p:attrNameLst>
                                      </p:cBhvr>
                                      <p:tavLst>
                                        <p:tav tm="0">
                                          <p:val>
                                            <p:fltVal val="0"/>
                                          </p:val>
                                        </p:tav>
                                        <p:tav tm="100000">
                                          <p:val>
                                            <p:strVal val="#ppt_w"/>
                                          </p:val>
                                        </p:tav>
                                      </p:tavLst>
                                    </p:anim>
                                    <p:anim calcmode="lin" valueType="num">
                                      <p:cBhvr>
                                        <p:cTn id="83" dur="500" fill="hold"/>
                                        <p:tgtEl>
                                          <p:spTgt spid="88"/>
                                        </p:tgtEl>
                                        <p:attrNameLst>
                                          <p:attrName>ppt_h</p:attrName>
                                        </p:attrNameLst>
                                      </p:cBhvr>
                                      <p:tavLst>
                                        <p:tav tm="0">
                                          <p:val>
                                            <p:fltVal val="0"/>
                                          </p:val>
                                        </p:tav>
                                        <p:tav tm="100000">
                                          <p:val>
                                            <p:strVal val="#ppt_h"/>
                                          </p:val>
                                        </p:tav>
                                      </p:tavLst>
                                    </p:anim>
                                    <p:animEffect transition="in" filter="fade">
                                      <p:cBhvr>
                                        <p:cTn id="84" dur="500"/>
                                        <p:tgtEl>
                                          <p:spTgt spid="88"/>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89"/>
                                        </p:tgtEl>
                                        <p:attrNameLst>
                                          <p:attrName>style.visibility</p:attrName>
                                        </p:attrNameLst>
                                      </p:cBhvr>
                                      <p:to>
                                        <p:strVal val="visible"/>
                                      </p:to>
                                    </p:set>
                                    <p:anim calcmode="lin" valueType="num">
                                      <p:cBhvr>
                                        <p:cTn id="87" dur="500" fill="hold"/>
                                        <p:tgtEl>
                                          <p:spTgt spid="89"/>
                                        </p:tgtEl>
                                        <p:attrNameLst>
                                          <p:attrName>ppt_w</p:attrName>
                                        </p:attrNameLst>
                                      </p:cBhvr>
                                      <p:tavLst>
                                        <p:tav tm="0">
                                          <p:val>
                                            <p:fltVal val="0"/>
                                          </p:val>
                                        </p:tav>
                                        <p:tav tm="100000">
                                          <p:val>
                                            <p:strVal val="#ppt_w"/>
                                          </p:val>
                                        </p:tav>
                                      </p:tavLst>
                                    </p:anim>
                                    <p:anim calcmode="lin" valueType="num">
                                      <p:cBhvr>
                                        <p:cTn id="88" dur="500" fill="hold"/>
                                        <p:tgtEl>
                                          <p:spTgt spid="89"/>
                                        </p:tgtEl>
                                        <p:attrNameLst>
                                          <p:attrName>ppt_h</p:attrName>
                                        </p:attrNameLst>
                                      </p:cBhvr>
                                      <p:tavLst>
                                        <p:tav tm="0">
                                          <p:val>
                                            <p:fltVal val="0"/>
                                          </p:val>
                                        </p:tav>
                                        <p:tav tm="100000">
                                          <p:val>
                                            <p:strVal val="#ppt_h"/>
                                          </p:val>
                                        </p:tav>
                                      </p:tavLst>
                                    </p:anim>
                                    <p:animEffect transition="in" filter="fade">
                                      <p:cBhvr>
                                        <p:cTn id="89" dur="500"/>
                                        <p:tgtEl>
                                          <p:spTgt spid="89"/>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0"/>
                                        </p:tgtEl>
                                        <p:attrNameLst>
                                          <p:attrName>style.visibility</p:attrName>
                                        </p:attrNameLst>
                                      </p:cBhvr>
                                      <p:to>
                                        <p:strVal val="visible"/>
                                      </p:to>
                                    </p:set>
                                    <p:anim calcmode="lin" valueType="num">
                                      <p:cBhvr>
                                        <p:cTn id="92" dur="500" fill="hold"/>
                                        <p:tgtEl>
                                          <p:spTgt spid="90"/>
                                        </p:tgtEl>
                                        <p:attrNameLst>
                                          <p:attrName>ppt_w</p:attrName>
                                        </p:attrNameLst>
                                      </p:cBhvr>
                                      <p:tavLst>
                                        <p:tav tm="0">
                                          <p:val>
                                            <p:fltVal val="0"/>
                                          </p:val>
                                        </p:tav>
                                        <p:tav tm="100000">
                                          <p:val>
                                            <p:strVal val="#ppt_w"/>
                                          </p:val>
                                        </p:tav>
                                      </p:tavLst>
                                    </p:anim>
                                    <p:anim calcmode="lin" valueType="num">
                                      <p:cBhvr>
                                        <p:cTn id="93" dur="500" fill="hold"/>
                                        <p:tgtEl>
                                          <p:spTgt spid="90"/>
                                        </p:tgtEl>
                                        <p:attrNameLst>
                                          <p:attrName>ppt_h</p:attrName>
                                        </p:attrNameLst>
                                      </p:cBhvr>
                                      <p:tavLst>
                                        <p:tav tm="0">
                                          <p:val>
                                            <p:fltVal val="0"/>
                                          </p:val>
                                        </p:tav>
                                        <p:tav tm="100000">
                                          <p:val>
                                            <p:strVal val="#ppt_h"/>
                                          </p:val>
                                        </p:tav>
                                      </p:tavLst>
                                    </p:anim>
                                    <p:animEffect transition="in" filter="fade">
                                      <p:cBhvr>
                                        <p:cTn id="94" dur="500"/>
                                        <p:tgtEl>
                                          <p:spTgt spid="90"/>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91"/>
                                        </p:tgtEl>
                                        <p:attrNameLst>
                                          <p:attrName>style.visibility</p:attrName>
                                        </p:attrNameLst>
                                      </p:cBhvr>
                                      <p:to>
                                        <p:strVal val="visible"/>
                                      </p:to>
                                    </p:set>
                                    <p:anim calcmode="lin" valueType="num">
                                      <p:cBhvr>
                                        <p:cTn id="97" dur="500" fill="hold"/>
                                        <p:tgtEl>
                                          <p:spTgt spid="91"/>
                                        </p:tgtEl>
                                        <p:attrNameLst>
                                          <p:attrName>ppt_w</p:attrName>
                                        </p:attrNameLst>
                                      </p:cBhvr>
                                      <p:tavLst>
                                        <p:tav tm="0">
                                          <p:val>
                                            <p:fltVal val="0"/>
                                          </p:val>
                                        </p:tav>
                                        <p:tav tm="100000">
                                          <p:val>
                                            <p:strVal val="#ppt_w"/>
                                          </p:val>
                                        </p:tav>
                                      </p:tavLst>
                                    </p:anim>
                                    <p:anim calcmode="lin" valueType="num">
                                      <p:cBhvr>
                                        <p:cTn id="98" dur="500" fill="hold"/>
                                        <p:tgtEl>
                                          <p:spTgt spid="91"/>
                                        </p:tgtEl>
                                        <p:attrNameLst>
                                          <p:attrName>ppt_h</p:attrName>
                                        </p:attrNameLst>
                                      </p:cBhvr>
                                      <p:tavLst>
                                        <p:tav tm="0">
                                          <p:val>
                                            <p:fltVal val="0"/>
                                          </p:val>
                                        </p:tav>
                                        <p:tav tm="100000">
                                          <p:val>
                                            <p:strVal val="#ppt_h"/>
                                          </p:val>
                                        </p:tav>
                                      </p:tavLst>
                                    </p:anim>
                                    <p:animEffect transition="in" filter="fade">
                                      <p:cBhvr>
                                        <p:cTn id="99" dur="500"/>
                                        <p:tgtEl>
                                          <p:spTgt spid="91"/>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92"/>
                                        </p:tgtEl>
                                        <p:attrNameLst>
                                          <p:attrName>style.visibility</p:attrName>
                                        </p:attrNameLst>
                                      </p:cBhvr>
                                      <p:to>
                                        <p:strVal val="visible"/>
                                      </p:to>
                                    </p:set>
                                    <p:anim calcmode="lin" valueType="num">
                                      <p:cBhvr>
                                        <p:cTn id="102" dur="500" fill="hold"/>
                                        <p:tgtEl>
                                          <p:spTgt spid="92"/>
                                        </p:tgtEl>
                                        <p:attrNameLst>
                                          <p:attrName>ppt_w</p:attrName>
                                        </p:attrNameLst>
                                      </p:cBhvr>
                                      <p:tavLst>
                                        <p:tav tm="0">
                                          <p:val>
                                            <p:fltVal val="0"/>
                                          </p:val>
                                        </p:tav>
                                        <p:tav tm="100000">
                                          <p:val>
                                            <p:strVal val="#ppt_w"/>
                                          </p:val>
                                        </p:tav>
                                      </p:tavLst>
                                    </p:anim>
                                    <p:anim calcmode="lin" valueType="num">
                                      <p:cBhvr>
                                        <p:cTn id="103" dur="500" fill="hold"/>
                                        <p:tgtEl>
                                          <p:spTgt spid="92"/>
                                        </p:tgtEl>
                                        <p:attrNameLst>
                                          <p:attrName>ppt_h</p:attrName>
                                        </p:attrNameLst>
                                      </p:cBhvr>
                                      <p:tavLst>
                                        <p:tav tm="0">
                                          <p:val>
                                            <p:fltVal val="0"/>
                                          </p:val>
                                        </p:tav>
                                        <p:tav tm="100000">
                                          <p:val>
                                            <p:strVal val="#ppt_h"/>
                                          </p:val>
                                        </p:tav>
                                      </p:tavLst>
                                    </p:anim>
                                    <p:animEffect transition="in" filter="fade">
                                      <p:cBhvr>
                                        <p:cTn id="104" dur="500"/>
                                        <p:tgtEl>
                                          <p:spTgt spid="92"/>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38"/>
                                        </p:tgtEl>
                                        <p:attrNameLst>
                                          <p:attrName>style.visibility</p:attrName>
                                        </p:attrNameLst>
                                      </p:cBhvr>
                                      <p:to>
                                        <p:strVal val="visible"/>
                                      </p:to>
                                    </p:set>
                                    <p:anim calcmode="lin" valueType="num">
                                      <p:cBhvr>
                                        <p:cTn id="107" dur="500" fill="hold"/>
                                        <p:tgtEl>
                                          <p:spTgt spid="38"/>
                                        </p:tgtEl>
                                        <p:attrNameLst>
                                          <p:attrName>ppt_w</p:attrName>
                                        </p:attrNameLst>
                                      </p:cBhvr>
                                      <p:tavLst>
                                        <p:tav tm="0">
                                          <p:val>
                                            <p:fltVal val="0"/>
                                          </p:val>
                                        </p:tav>
                                        <p:tav tm="100000">
                                          <p:val>
                                            <p:strVal val="#ppt_w"/>
                                          </p:val>
                                        </p:tav>
                                      </p:tavLst>
                                    </p:anim>
                                    <p:anim calcmode="lin" valueType="num">
                                      <p:cBhvr>
                                        <p:cTn id="108" dur="500" fill="hold"/>
                                        <p:tgtEl>
                                          <p:spTgt spid="38"/>
                                        </p:tgtEl>
                                        <p:attrNameLst>
                                          <p:attrName>ppt_h</p:attrName>
                                        </p:attrNameLst>
                                      </p:cBhvr>
                                      <p:tavLst>
                                        <p:tav tm="0">
                                          <p:val>
                                            <p:fltVal val="0"/>
                                          </p:val>
                                        </p:tav>
                                        <p:tav tm="100000">
                                          <p:val>
                                            <p:strVal val="#ppt_h"/>
                                          </p:val>
                                        </p:tav>
                                      </p:tavLst>
                                    </p:anim>
                                    <p:animEffect transition="in" filter="fade">
                                      <p:cBhvr>
                                        <p:cTn id="109" dur="500"/>
                                        <p:tgtEl>
                                          <p:spTgt spid="38"/>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37"/>
                                        </p:tgtEl>
                                        <p:attrNameLst>
                                          <p:attrName>style.visibility</p:attrName>
                                        </p:attrNameLst>
                                      </p:cBhvr>
                                      <p:to>
                                        <p:strVal val="visible"/>
                                      </p:to>
                                    </p:set>
                                    <p:anim calcmode="lin" valueType="num">
                                      <p:cBhvr>
                                        <p:cTn id="112" dur="500" fill="hold"/>
                                        <p:tgtEl>
                                          <p:spTgt spid="37"/>
                                        </p:tgtEl>
                                        <p:attrNameLst>
                                          <p:attrName>ppt_w</p:attrName>
                                        </p:attrNameLst>
                                      </p:cBhvr>
                                      <p:tavLst>
                                        <p:tav tm="0">
                                          <p:val>
                                            <p:fltVal val="0"/>
                                          </p:val>
                                        </p:tav>
                                        <p:tav tm="100000">
                                          <p:val>
                                            <p:strVal val="#ppt_w"/>
                                          </p:val>
                                        </p:tav>
                                      </p:tavLst>
                                    </p:anim>
                                    <p:anim calcmode="lin" valueType="num">
                                      <p:cBhvr>
                                        <p:cTn id="113" dur="500" fill="hold"/>
                                        <p:tgtEl>
                                          <p:spTgt spid="37"/>
                                        </p:tgtEl>
                                        <p:attrNameLst>
                                          <p:attrName>ppt_h</p:attrName>
                                        </p:attrNameLst>
                                      </p:cBhvr>
                                      <p:tavLst>
                                        <p:tav tm="0">
                                          <p:val>
                                            <p:fltVal val="0"/>
                                          </p:val>
                                        </p:tav>
                                        <p:tav tm="100000">
                                          <p:val>
                                            <p:strVal val="#ppt_h"/>
                                          </p:val>
                                        </p:tav>
                                      </p:tavLst>
                                    </p:anim>
                                    <p:animEffect transition="in" filter="fade">
                                      <p:cBhvr>
                                        <p:cTn id="114" dur="500"/>
                                        <p:tgtEl>
                                          <p:spTgt spid="37"/>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80"/>
                                        </p:tgtEl>
                                        <p:attrNameLst>
                                          <p:attrName>style.visibility</p:attrName>
                                        </p:attrNameLst>
                                      </p:cBhvr>
                                      <p:to>
                                        <p:strVal val="visible"/>
                                      </p:to>
                                    </p:set>
                                    <p:anim calcmode="lin" valueType="num">
                                      <p:cBhvr>
                                        <p:cTn id="117" dur="500" fill="hold"/>
                                        <p:tgtEl>
                                          <p:spTgt spid="80"/>
                                        </p:tgtEl>
                                        <p:attrNameLst>
                                          <p:attrName>ppt_w</p:attrName>
                                        </p:attrNameLst>
                                      </p:cBhvr>
                                      <p:tavLst>
                                        <p:tav tm="0">
                                          <p:val>
                                            <p:fltVal val="0"/>
                                          </p:val>
                                        </p:tav>
                                        <p:tav tm="100000">
                                          <p:val>
                                            <p:strVal val="#ppt_w"/>
                                          </p:val>
                                        </p:tav>
                                      </p:tavLst>
                                    </p:anim>
                                    <p:anim calcmode="lin" valueType="num">
                                      <p:cBhvr>
                                        <p:cTn id="118" dur="500" fill="hold"/>
                                        <p:tgtEl>
                                          <p:spTgt spid="80"/>
                                        </p:tgtEl>
                                        <p:attrNameLst>
                                          <p:attrName>ppt_h</p:attrName>
                                        </p:attrNameLst>
                                      </p:cBhvr>
                                      <p:tavLst>
                                        <p:tav tm="0">
                                          <p:val>
                                            <p:fltVal val="0"/>
                                          </p:val>
                                        </p:tav>
                                        <p:tav tm="100000">
                                          <p:val>
                                            <p:strVal val="#ppt_h"/>
                                          </p:val>
                                        </p:tav>
                                      </p:tavLst>
                                    </p:anim>
                                    <p:animEffect transition="in" filter="fade">
                                      <p:cBhvr>
                                        <p:cTn id="119" dur="500"/>
                                        <p:tgtEl>
                                          <p:spTgt spid="80"/>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 calcmode="lin" valueType="num">
                                      <p:cBhvr>
                                        <p:cTn id="122" dur="500" fill="hold"/>
                                        <p:tgtEl>
                                          <p:spTgt spid="35"/>
                                        </p:tgtEl>
                                        <p:attrNameLst>
                                          <p:attrName>ppt_w</p:attrName>
                                        </p:attrNameLst>
                                      </p:cBhvr>
                                      <p:tavLst>
                                        <p:tav tm="0">
                                          <p:val>
                                            <p:fltVal val="0"/>
                                          </p:val>
                                        </p:tav>
                                        <p:tav tm="100000">
                                          <p:val>
                                            <p:strVal val="#ppt_w"/>
                                          </p:val>
                                        </p:tav>
                                      </p:tavLst>
                                    </p:anim>
                                    <p:anim calcmode="lin" valueType="num">
                                      <p:cBhvr>
                                        <p:cTn id="123" dur="500" fill="hold"/>
                                        <p:tgtEl>
                                          <p:spTgt spid="35"/>
                                        </p:tgtEl>
                                        <p:attrNameLst>
                                          <p:attrName>ppt_h</p:attrName>
                                        </p:attrNameLst>
                                      </p:cBhvr>
                                      <p:tavLst>
                                        <p:tav tm="0">
                                          <p:val>
                                            <p:fltVal val="0"/>
                                          </p:val>
                                        </p:tav>
                                        <p:tav tm="100000">
                                          <p:val>
                                            <p:strVal val="#ppt_h"/>
                                          </p:val>
                                        </p:tav>
                                      </p:tavLst>
                                    </p:anim>
                                    <p:animEffect transition="in" filter="fade">
                                      <p:cBhvr>
                                        <p:cTn id="124"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P spid="53" grpId="0" animBg="1"/>
      <p:bldP spid="54" grpId="0" animBg="1"/>
      <p:bldP spid="55" grpId="0" animBg="1"/>
      <p:bldP spid="56" grpId="0" animBg="1"/>
      <p:bldP spid="58" grpId="0" animBg="1"/>
      <p:bldP spid="79" grpId="0" animBg="1"/>
      <p:bldP spid="81" grpId="0" animBg="1"/>
      <p:bldP spid="82" grpId="0"/>
      <p:bldP spid="80" grpId="0" animBg="1"/>
      <p:bldP spid="84" grpId="0"/>
      <p:bldP spid="85" grpId="0" animBg="1"/>
      <p:bldP spid="86" grpId="0" animBg="1"/>
      <p:bldP spid="87" grpId="0"/>
      <p:bldP spid="88" grpId="0"/>
      <p:bldP spid="89" grpId="0" animBg="1"/>
      <p:bldP spid="90" grpId="0" animBg="1"/>
      <p:bldP spid="91" grpId="0"/>
      <p:bldP spid="92" grpId="0"/>
      <p:bldP spid="37" grpId="0" animBg="1"/>
      <p:bldP spid="38" grpId="0"/>
      <p:bldP spid="3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6777" cy="6858000"/>
          </a:xfrm>
          <a:prstGeom prst="rect">
            <a:avLst/>
          </a:prstGeom>
        </p:spPr>
      </p:pic>
      <p:sp>
        <p:nvSpPr>
          <p:cNvPr id="2" name="Title 1"/>
          <p:cNvSpPr>
            <a:spLocks noGrp="1"/>
          </p:cNvSpPr>
          <p:nvPr>
            <p:ph type="title"/>
          </p:nvPr>
        </p:nvSpPr>
        <p:spPr/>
        <p:txBody>
          <a:bodyPr/>
          <a:lstStyle/>
          <a:p>
            <a:r>
              <a:rPr lang="en-US" dirty="0" smtClean="0">
                <a:solidFill>
                  <a:schemeClr val="bg1"/>
                </a:solidFill>
              </a:rPr>
              <a:t>Agenda</a:t>
            </a:r>
            <a:endParaRPr lang="en-US" dirty="0">
              <a:solidFill>
                <a:schemeClr val="bg1"/>
              </a:solidFill>
            </a:endParaRPr>
          </a:p>
        </p:txBody>
      </p:sp>
      <p:sp>
        <p:nvSpPr>
          <p:cNvPr id="3" name="Content Placeholder 2"/>
          <p:cNvSpPr>
            <a:spLocks noGrp="1"/>
          </p:cNvSpPr>
          <p:nvPr>
            <p:ph idx="1"/>
          </p:nvPr>
        </p:nvSpPr>
        <p:spPr/>
        <p:txBody>
          <a:bodyPr/>
          <a:lstStyle/>
          <a:p>
            <a:pPr marL="0" indent="0">
              <a:buNone/>
            </a:pPr>
            <a:r>
              <a:rPr lang="en-US" dirty="0" smtClean="0">
                <a:solidFill>
                  <a:schemeClr val="bg1"/>
                </a:solidFill>
              </a:rPr>
              <a:t>Introduction to Azure Data Services </a:t>
            </a:r>
            <a:endParaRPr lang="en-US" dirty="0" smtClean="0">
              <a:solidFill>
                <a:schemeClr val="bg1"/>
              </a:solidFill>
            </a:endParaRPr>
          </a:p>
          <a:p>
            <a:pPr marL="0" indent="0">
              <a:buNone/>
            </a:pPr>
            <a:r>
              <a:rPr lang="en-US" dirty="0" smtClean="0">
                <a:solidFill>
                  <a:schemeClr val="bg1"/>
                </a:solidFill>
              </a:rPr>
              <a:t>Hadoop</a:t>
            </a:r>
          </a:p>
          <a:p>
            <a:pPr marL="0" indent="0">
              <a:buNone/>
            </a:pPr>
            <a:r>
              <a:rPr lang="en-US" dirty="0" smtClean="0">
                <a:solidFill>
                  <a:schemeClr val="bg1"/>
                </a:solidFill>
              </a:rPr>
              <a:t>Column Families</a:t>
            </a:r>
          </a:p>
          <a:p>
            <a:pPr marL="0" indent="0">
              <a:buNone/>
            </a:pPr>
            <a:r>
              <a:rPr lang="en-US" dirty="0" smtClean="0">
                <a:solidFill>
                  <a:schemeClr val="bg1"/>
                </a:solidFill>
              </a:rPr>
              <a:t>Document Stores</a:t>
            </a:r>
          </a:p>
          <a:p>
            <a:pPr marL="0" indent="0">
              <a:buNone/>
            </a:pPr>
            <a:r>
              <a:rPr lang="en-US" dirty="0" smtClean="0">
                <a:solidFill>
                  <a:schemeClr val="bg1"/>
                </a:solidFill>
              </a:rPr>
              <a:t>Streaming </a:t>
            </a:r>
          </a:p>
          <a:p>
            <a:pPr marL="0" indent="0">
              <a:buNone/>
            </a:pPr>
            <a:endParaRPr lang="en-US" dirty="0" smtClean="0">
              <a:solidFill>
                <a:schemeClr val="bg1"/>
              </a:solidFill>
            </a:endParaRPr>
          </a:p>
          <a:p>
            <a:endParaRPr lang="en-US" dirty="0" smtClean="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18190751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L1</a:t>
            </a:r>
            <a:br>
              <a:rPr lang="en-US" dirty="0" smtClean="0"/>
            </a:br>
            <a:r>
              <a:rPr lang="en-US" dirty="0" smtClean="0"/>
              <a:t>Explore the Portal(s)</a:t>
            </a:r>
            <a:endParaRPr lang="en-US" dirty="0"/>
          </a:p>
        </p:txBody>
      </p:sp>
    </p:spTree>
    <p:extLst>
      <p:ext uri="{BB962C8B-B14F-4D97-AF65-F5344CB8AC3E}">
        <p14:creationId xmlns:p14="http://schemas.microsoft.com/office/powerpoint/2010/main" val="15179210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genda</a:t>
            </a:r>
            <a:endParaRPr lang="en-US" dirty="0"/>
          </a:p>
        </p:txBody>
      </p:sp>
      <p:sp>
        <p:nvSpPr>
          <p:cNvPr id="3" name="Content Placeholder 2"/>
          <p:cNvSpPr>
            <a:spLocks noGrp="1"/>
          </p:cNvSpPr>
          <p:nvPr>
            <p:ph idx="1"/>
          </p:nvPr>
        </p:nvSpPr>
        <p:spPr/>
        <p:txBody>
          <a:bodyPr/>
          <a:lstStyle/>
          <a:p>
            <a:r>
              <a:rPr lang="en-US" dirty="0" smtClean="0"/>
              <a:t>Introduction to Azure Data Services</a:t>
            </a:r>
            <a:endParaRPr lang="en-US" dirty="0" smtClean="0"/>
          </a:p>
          <a:p>
            <a:r>
              <a:rPr lang="en-US" dirty="0" smtClean="0"/>
              <a:t>Hadoop</a:t>
            </a:r>
          </a:p>
          <a:p>
            <a:r>
              <a:rPr lang="en-US" dirty="0" smtClean="0"/>
              <a:t>Column Families</a:t>
            </a:r>
          </a:p>
          <a:p>
            <a:r>
              <a:rPr lang="en-US" dirty="0" smtClean="0"/>
              <a:t>Document Stores</a:t>
            </a:r>
          </a:p>
          <a:p>
            <a:r>
              <a:rPr lang="en-US" smtClean="0"/>
              <a:t>Streaming </a:t>
            </a:r>
            <a:endParaRPr lang="en-US" dirty="0" smtClean="0"/>
          </a:p>
          <a:p>
            <a:endParaRPr lang="en-US" dirty="0" smtClean="0"/>
          </a:p>
          <a:p>
            <a:endParaRPr lang="en-US" dirty="0"/>
          </a:p>
        </p:txBody>
      </p:sp>
    </p:spTree>
    <p:extLst>
      <p:ext uri="{BB962C8B-B14F-4D97-AF65-F5344CB8AC3E}">
        <p14:creationId xmlns:p14="http://schemas.microsoft.com/office/powerpoint/2010/main" val="42866923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apezoid 5"/>
          <p:cNvSpPr/>
          <p:nvPr/>
        </p:nvSpPr>
        <p:spPr bwMode="auto">
          <a:xfrm rot="16200000">
            <a:off x="483734" y="1788238"/>
            <a:ext cx="4863564" cy="4250464"/>
          </a:xfrm>
          <a:prstGeom prst="trapezoid">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9" name="Title 8"/>
          <p:cNvSpPr>
            <a:spLocks noGrp="1"/>
          </p:cNvSpPr>
          <p:nvPr>
            <p:ph type="title"/>
          </p:nvPr>
        </p:nvSpPr>
        <p:spPr/>
        <p:txBody>
          <a:bodyPr/>
          <a:lstStyle/>
          <a:p>
            <a:r>
              <a:rPr lang="en-US" sz="4400" dirty="0" smtClean="0"/>
              <a:t>Microsoft Azure Data Services</a:t>
            </a:r>
            <a:endParaRPr lang="en-US" sz="4400" dirty="0"/>
          </a:p>
        </p:txBody>
      </p:sp>
      <p:sp>
        <p:nvSpPr>
          <p:cNvPr id="82" name="Oval 81"/>
          <p:cNvSpPr/>
          <p:nvPr/>
        </p:nvSpPr>
        <p:spPr bwMode="auto">
          <a:xfrm>
            <a:off x="190285" y="1877631"/>
            <a:ext cx="4365187" cy="4365187"/>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07" name="Oval 106"/>
          <p:cNvSpPr/>
          <p:nvPr/>
        </p:nvSpPr>
        <p:spPr bwMode="auto">
          <a:xfrm>
            <a:off x="460141" y="2147487"/>
            <a:ext cx="3825475" cy="3825475"/>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sp>
        <p:nvSpPr>
          <p:cNvPr id="108" name="Freeform 107"/>
          <p:cNvSpPr/>
          <p:nvPr/>
        </p:nvSpPr>
        <p:spPr bwMode="auto">
          <a:xfrm>
            <a:off x="865061" y="4170275"/>
            <a:ext cx="3015595" cy="1513103"/>
          </a:xfrm>
          <a:custGeom>
            <a:avLst/>
            <a:gdLst>
              <a:gd name="connsiteX0" fmla="*/ 0 w 3154215"/>
              <a:gd name="connsiteY0" fmla="*/ 509439 h 1650246"/>
              <a:gd name="connsiteX1" fmla="*/ 10932 w 3154215"/>
              <a:gd name="connsiteY1" fmla="*/ 544262 h 1650246"/>
              <a:gd name="connsiteX2" fmla="*/ 7183 w 3154215"/>
              <a:gd name="connsiteY2" fmla="*/ 534564 h 1650246"/>
              <a:gd name="connsiteX3" fmla="*/ 894341 w 3154215"/>
              <a:gd name="connsiteY3" fmla="*/ 384534 h 1650246"/>
              <a:gd name="connsiteX4" fmla="*/ 897970 w 3154215"/>
              <a:gd name="connsiteY4" fmla="*/ 391641 h 1650246"/>
              <a:gd name="connsiteX5" fmla="*/ 902367 w 3154215"/>
              <a:gd name="connsiteY5" fmla="*/ 397746 h 1650246"/>
              <a:gd name="connsiteX6" fmla="*/ 800755 w 3154215"/>
              <a:gd name="connsiteY6" fmla="*/ 98652 h 1650246"/>
              <a:gd name="connsiteX7" fmla="*/ 805324 w 3154215"/>
              <a:gd name="connsiteY7" fmla="*/ 126058 h 1650246"/>
              <a:gd name="connsiteX8" fmla="*/ 804819 w 3154215"/>
              <a:gd name="connsiteY8" fmla="*/ 120064 h 1650246"/>
              <a:gd name="connsiteX9" fmla="*/ 811413 w 3154215"/>
              <a:gd name="connsiteY9" fmla="*/ 163271 h 1650246"/>
              <a:gd name="connsiteX10" fmla="*/ 1561019 w 3154215"/>
              <a:gd name="connsiteY10" fmla="*/ 774217 h 1650246"/>
              <a:gd name="connsiteX11" fmla="*/ 2309360 w 3154215"/>
              <a:gd name="connsiteY11" fmla="*/ 168409 h 1650246"/>
              <a:gd name="connsiteX12" fmla="*/ 2320036 w 3154215"/>
              <a:gd name="connsiteY12" fmla="*/ 101427 h 1650246"/>
              <a:gd name="connsiteX13" fmla="*/ 3102291 w 3154215"/>
              <a:gd name="connsiteY13" fmla="*/ 553063 h 1650246"/>
              <a:gd name="connsiteX14" fmla="*/ 3143038 w 3154215"/>
              <a:gd name="connsiteY14" fmla="*/ 423274 h 1650246"/>
              <a:gd name="connsiteX15" fmla="*/ 3149435 w 3154215"/>
              <a:gd name="connsiteY15" fmla="*/ 394166 h 1650246"/>
              <a:gd name="connsiteX16" fmla="*/ 3154215 w 3154215"/>
              <a:gd name="connsiteY16" fmla="*/ 396761 h 1650246"/>
              <a:gd name="connsiteX17" fmla="*/ 1561019 w 3154215"/>
              <a:gd name="connsiteY17" fmla="*/ 1650246 h 1650246"/>
              <a:gd name="connsiteX18" fmla="*/ 1560794 w 3154215"/>
              <a:gd name="connsiteY18" fmla="*/ 1650236 h 1650246"/>
              <a:gd name="connsiteX19" fmla="*/ 1577953 w 3154215"/>
              <a:gd name="connsiteY19" fmla="*/ 1649369 h 1650246"/>
              <a:gd name="connsiteX20" fmla="*/ 1515761 w 3154215"/>
              <a:gd name="connsiteY20" fmla="*/ 1647980 h 1650246"/>
              <a:gd name="connsiteX21" fmla="*/ 1556640 w 3154215"/>
              <a:gd name="connsiteY21" fmla="*/ 1650045 h 1650246"/>
              <a:gd name="connsiteX22" fmla="*/ 1407963 w 3154215"/>
              <a:gd name="connsiteY22" fmla="*/ 1643203 h 1650246"/>
              <a:gd name="connsiteX23" fmla="*/ 59809 w 3154215"/>
              <a:gd name="connsiteY23" fmla="*/ 670697 h 1650246"/>
              <a:gd name="connsiteX24" fmla="*/ 14218 w 3154215"/>
              <a:gd name="connsiteY24" fmla="*/ 552761 h 1650246"/>
              <a:gd name="connsiteX25" fmla="*/ 796315 w 3154215"/>
              <a:gd name="connsiteY25" fmla="*/ 0 h 1650246"/>
              <a:gd name="connsiteX26" fmla="*/ 796326 w 3154215"/>
              <a:gd name="connsiteY26" fmla="*/ 0 h 1650246"/>
              <a:gd name="connsiteX27" fmla="*/ 795868 w 3154215"/>
              <a:gd name="connsiteY27" fmla="*/ 9066 h 1650246"/>
              <a:gd name="connsiteX28" fmla="*/ 796479 w 3154215"/>
              <a:gd name="connsiteY28" fmla="*/ 21168 h 1650246"/>
              <a:gd name="connsiteX29" fmla="*/ 795458 w 3154215"/>
              <a:gd name="connsiteY29" fmla="*/ 9065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5458 w 3154215"/>
              <a:gd name="connsiteY28" fmla="*/ 9065 h 1650246"/>
              <a:gd name="connsiteX29" fmla="*/ 796326 w 3154215"/>
              <a:gd name="connsiteY29" fmla="*/ 0 h 1650246"/>
              <a:gd name="connsiteX30" fmla="*/ 795868 w 3154215"/>
              <a:gd name="connsiteY30" fmla="*/ 9066 h 1650246"/>
              <a:gd name="connsiteX31" fmla="*/ 796479 w 3154215"/>
              <a:gd name="connsiteY31" fmla="*/ 21168 h 1650246"/>
              <a:gd name="connsiteX32" fmla="*/ 795458 w 3154215"/>
              <a:gd name="connsiteY32" fmla="*/ 9065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6479 w 3154215"/>
              <a:gd name="connsiteY28" fmla="*/ 21168 h 1650246"/>
              <a:gd name="connsiteX29" fmla="*/ 796326 w 3154215"/>
              <a:gd name="connsiteY29" fmla="*/ 0 h 1650246"/>
              <a:gd name="connsiteX30" fmla="*/ 795868 w 3154215"/>
              <a:gd name="connsiteY30" fmla="*/ 9066 h 1650246"/>
              <a:gd name="connsiteX31" fmla="*/ 796479 w 3154215"/>
              <a:gd name="connsiteY31" fmla="*/ 21168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5868 w 3154215"/>
              <a:gd name="connsiteY28" fmla="*/ 9066 h 1650246"/>
              <a:gd name="connsiteX29" fmla="*/ 796326 w 3154215"/>
              <a:gd name="connsiteY29" fmla="*/ 0 h 1650246"/>
              <a:gd name="connsiteX30" fmla="*/ 795868 w 3154215"/>
              <a:gd name="connsiteY30" fmla="*/ 9066 h 1650246"/>
              <a:gd name="connsiteX0" fmla="*/ 0 w 3154215"/>
              <a:gd name="connsiteY0" fmla="*/ 410787 h 1551594"/>
              <a:gd name="connsiteX1" fmla="*/ 10932 w 3154215"/>
              <a:gd name="connsiteY1" fmla="*/ 445610 h 1551594"/>
              <a:gd name="connsiteX2" fmla="*/ 7183 w 3154215"/>
              <a:gd name="connsiteY2" fmla="*/ 435912 h 1551594"/>
              <a:gd name="connsiteX3" fmla="*/ 0 w 3154215"/>
              <a:gd name="connsiteY3" fmla="*/ 410787 h 1551594"/>
              <a:gd name="connsiteX4" fmla="*/ 894341 w 3154215"/>
              <a:gd name="connsiteY4" fmla="*/ 285882 h 1551594"/>
              <a:gd name="connsiteX5" fmla="*/ 897970 w 3154215"/>
              <a:gd name="connsiteY5" fmla="*/ 292989 h 1551594"/>
              <a:gd name="connsiteX6" fmla="*/ 902367 w 3154215"/>
              <a:gd name="connsiteY6" fmla="*/ 299094 h 1551594"/>
              <a:gd name="connsiteX7" fmla="*/ 894341 w 3154215"/>
              <a:gd name="connsiteY7" fmla="*/ 285882 h 1551594"/>
              <a:gd name="connsiteX8" fmla="*/ 800755 w 3154215"/>
              <a:gd name="connsiteY8" fmla="*/ 0 h 1551594"/>
              <a:gd name="connsiteX9" fmla="*/ 805324 w 3154215"/>
              <a:gd name="connsiteY9" fmla="*/ 27406 h 1551594"/>
              <a:gd name="connsiteX10" fmla="*/ 804819 w 3154215"/>
              <a:gd name="connsiteY10" fmla="*/ 21412 h 1551594"/>
              <a:gd name="connsiteX11" fmla="*/ 811413 w 3154215"/>
              <a:gd name="connsiteY11" fmla="*/ 64619 h 1551594"/>
              <a:gd name="connsiteX12" fmla="*/ 1561019 w 3154215"/>
              <a:gd name="connsiteY12" fmla="*/ 675565 h 1551594"/>
              <a:gd name="connsiteX13" fmla="*/ 2309360 w 3154215"/>
              <a:gd name="connsiteY13" fmla="*/ 69757 h 1551594"/>
              <a:gd name="connsiteX14" fmla="*/ 2320036 w 3154215"/>
              <a:gd name="connsiteY14" fmla="*/ 2775 h 1551594"/>
              <a:gd name="connsiteX15" fmla="*/ 3102291 w 3154215"/>
              <a:gd name="connsiteY15" fmla="*/ 454411 h 1551594"/>
              <a:gd name="connsiteX16" fmla="*/ 3143038 w 3154215"/>
              <a:gd name="connsiteY16" fmla="*/ 324622 h 1551594"/>
              <a:gd name="connsiteX17" fmla="*/ 3149435 w 3154215"/>
              <a:gd name="connsiteY17" fmla="*/ 295514 h 1551594"/>
              <a:gd name="connsiteX18" fmla="*/ 3154215 w 3154215"/>
              <a:gd name="connsiteY18" fmla="*/ 298109 h 1551594"/>
              <a:gd name="connsiteX19" fmla="*/ 1561019 w 3154215"/>
              <a:gd name="connsiteY19" fmla="*/ 1551594 h 1551594"/>
              <a:gd name="connsiteX20" fmla="*/ 1560794 w 3154215"/>
              <a:gd name="connsiteY20" fmla="*/ 1551584 h 1551594"/>
              <a:gd name="connsiteX21" fmla="*/ 1577953 w 3154215"/>
              <a:gd name="connsiteY21" fmla="*/ 1550717 h 1551594"/>
              <a:gd name="connsiteX22" fmla="*/ 1515761 w 3154215"/>
              <a:gd name="connsiteY22" fmla="*/ 1549328 h 1551594"/>
              <a:gd name="connsiteX23" fmla="*/ 1556640 w 3154215"/>
              <a:gd name="connsiteY23" fmla="*/ 1551393 h 1551594"/>
              <a:gd name="connsiteX24" fmla="*/ 1407963 w 3154215"/>
              <a:gd name="connsiteY24" fmla="*/ 1544551 h 1551594"/>
              <a:gd name="connsiteX25" fmla="*/ 59809 w 3154215"/>
              <a:gd name="connsiteY25" fmla="*/ 572045 h 1551594"/>
              <a:gd name="connsiteX26" fmla="*/ 14218 w 3154215"/>
              <a:gd name="connsiteY26" fmla="*/ 454109 h 1551594"/>
              <a:gd name="connsiteX27" fmla="*/ 800755 w 3154215"/>
              <a:gd name="connsiteY27" fmla="*/ 0 h 1551594"/>
              <a:gd name="connsiteX0" fmla="*/ 0 w 3147032"/>
              <a:gd name="connsiteY0" fmla="*/ 435912 h 1551594"/>
              <a:gd name="connsiteX1" fmla="*/ 3749 w 3147032"/>
              <a:gd name="connsiteY1" fmla="*/ 445610 h 1551594"/>
              <a:gd name="connsiteX2" fmla="*/ 0 w 3147032"/>
              <a:gd name="connsiteY2" fmla="*/ 435912 h 1551594"/>
              <a:gd name="connsiteX3" fmla="*/ 887158 w 3147032"/>
              <a:gd name="connsiteY3" fmla="*/ 285882 h 1551594"/>
              <a:gd name="connsiteX4" fmla="*/ 890787 w 3147032"/>
              <a:gd name="connsiteY4" fmla="*/ 292989 h 1551594"/>
              <a:gd name="connsiteX5" fmla="*/ 895184 w 3147032"/>
              <a:gd name="connsiteY5" fmla="*/ 299094 h 1551594"/>
              <a:gd name="connsiteX6" fmla="*/ 887158 w 3147032"/>
              <a:gd name="connsiteY6" fmla="*/ 285882 h 1551594"/>
              <a:gd name="connsiteX7" fmla="*/ 793572 w 3147032"/>
              <a:gd name="connsiteY7" fmla="*/ 0 h 1551594"/>
              <a:gd name="connsiteX8" fmla="*/ 798141 w 3147032"/>
              <a:gd name="connsiteY8" fmla="*/ 27406 h 1551594"/>
              <a:gd name="connsiteX9" fmla="*/ 797636 w 3147032"/>
              <a:gd name="connsiteY9" fmla="*/ 21412 h 1551594"/>
              <a:gd name="connsiteX10" fmla="*/ 804230 w 3147032"/>
              <a:gd name="connsiteY10" fmla="*/ 64619 h 1551594"/>
              <a:gd name="connsiteX11" fmla="*/ 1553836 w 3147032"/>
              <a:gd name="connsiteY11" fmla="*/ 675565 h 1551594"/>
              <a:gd name="connsiteX12" fmla="*/ 2302177 w 3147032"/>
              <a:gd name="connsiteY12" fmla="*/ 69757 h 1551594"/>
              <a:gd name="connsiteX13" fmla="*/ 2312853 w 3147032"/>
              <a:gd name="connsiteY13" fmla="*/ 2775 h 1551594"/>
              <a:gd name="connsiteX14" fmla="*/ 3095108 w 3147032"/>
              <a:gd name="connsiteY14" fmla="*/ 454411 h 1551594"/>
              <a:gd name="connsiteX15" fmla="*/ 3135855 w 3147032"/>
              <a:gd name="connsiteY15" fmla="*/ 324622 h 1551594"/>
              <a:gd name="connsiteX16" fmla="*/ 3142252 w 3147032"/>
              <a:gd name="connsiteY16" fmla="*/ 295514 h 1551594"/>
              <a:gd name="connsiteX17" fmla="*/ 3147032 w 3147032"/>
              <a:gd name="connsiteY17" fmla="*/ 298109 h 1551594"/>
              <a:gd name="connsiteX18" fmla="*/ 1553836 w 3147032"/>
              <a:gd name="connsiteY18" fmla="*/ 1551594 h 1551594"/>
              <a:gd name="connsiteX19" fmla="*/ 1553611 w 3147032"/>
              <a:gd name="connsiteY19" fmla="*/ 1551584 h 1551594"/>
              <a:gd name="connsiteX20" fmla="*/ 1570770 w 3147032"/>
              <a:gd name="connsiteY20" fmla="*/ 1550717 h 1551594"/>
              <a:gd name="connsiteX21" fmla="*/ 1508578 w 3147032"/>
              <a:gd name="connsiteY21" fmla="*/ 1549328 h 1551594"/>
              <a:gd name="connsiteX22" fmla="*/ 1549457 w 3147032"/>
              <a:gd name="connsiteY22" fmla="*/ 1551393 h 1551594"/>
              <a:gd name="connsiteX23" fmla="*/ 1400780 w 3147032"/>
              <a:gd name="connsiteY23" fmla="*/ 1544551 h 1551594"/>
              <a:gd name="connsiteX24" fmla="*/ 52626 w 3147032"/>
              <a:gd name="connsiteY24" fmla="*/ 572045 h 1551594"/>
              <a:gd name="connsiteX25" fmla="*/ 7035 w 3147032"/>
              <a:gd name="connsiteY25" fmla="*/ 454109 h 1551594"/>
              <a:gd name="connsiteX26" fmla="*/ 793572 w 3147032"/>
              <a:gd name="connsiteY26" fmla="*/ 0 h 1551594"/>
              <a:gd name="connsiteX0" fmla="*/ 880123 w 3139997"/>
              <a:gd name="connsiteY0" fmla="*/ 285882 h 1551594"/>
              <a:gd name="connsiteX1" fmla="*/ 883752 w 3139997"/>
              <a:gd name="connsiteY1" fmla="*/ 292989 h 1551594"/>
              <a:gd name="connsiteX2" fmla="*/ 888149 w 3139997"/>
              <a:gd name="connsiteY2" fmla="*/ 299094 h 1551594"/>
              <a:gd name="connsiteX3" fmla="*/ 880123 w 3139997"/>
              <a:gd name="connsiteY3" fmla="*/ 285882 h 1551594"/>
              <a:gd name="connsiteX4" fmla="*/ 786537 w 3139997"/>
              <a:gd name="connsiteY4" fmla="*/ 0 h 1551594"/>
              <a:gd name="connsiteX5" fmla="*/ 791106 w 3139997"/>
              <a:gd name="connsiteY5" fmla="*/ 27406 h 1551594"/>
              <a:gd name="connsiteX6" fmla="*/ 790601 w 3139997"/>
              <a:gd name="connsiteY6" fmla="*/ 21412 h 1551594"/>
              <a:gd name="connsiteX7" fmla="*/ 797195 w 3139997"/>
              <a:gd name="connsiteY7" fmla="*/ 64619 h 1551594"/>
              <a:gd name="connsiteX8" fmla="*/ 1546801 w 3139997"/>
              <a:gd name="connsiteY8" fmla="*/ 675565 h 1551594"/>
              <a:gd name="connsiteX9" fmla="*/ 2295142 w 3139997"/>
              <a:gd name="connsiteY9" fmla="*/ 69757 h 1551594"/>
              <a:gd name="connsiteX10" fmla="*/ 2305818 w 3139997"/>
              <a:gd name="connsiteY10" fmla="*/ 2775 h 1551594"/>
              <a:gd name="connsiteX11" fmla="*/ 3088073 w 3139997"/>
              <a:gd name="connsiteY11" fmla="*/ 454411 h 1551594"/>
              <a:gd name="connsiteX12" fmla="*/ 3128820 w 3139997"/>
              <a:gd name="connsiteY12" fmla="*/ 324622 h 1551594"/>
              <a:gd name="connsiteX13" fmla="*/ 3135217 w 3139997"/>
              <a:gd name="connsiteY13" fmla="*/ 295514 h 1551594"/>
              <a:gd name="connsiteX14" fmla="*/ 3139997 w 3139997"/>
              <a:gd name="connsiteY14" fmla="*/ 298109 h 1551594"/>
              <a:gd name="connsiteX15" fmla="*/ 1546801 w 3139997"/>
              <a:gd name="connsiteY15" fmla="*/ 1551594 h 1551594"/>
              <a:gd name="connsiteX16" fmla="*/ 1546576 w 3139997"/>
              <a:gd name="connsiteY16" fmla="*/ 1551584 h 1551594"/>
              <a:gd name="connsiteX17" fmla="*/ 1563735 w 3139997"/>
              <a:gd name="connsiteY17" fmla="*/ 1550717 h 1551594"/>
              <a:gd name="connsiteX18" fmla="*/ 1501543 w 3139997"/>
              <a:gd name="connsiteY18" fmla="*/ 1549328 h 1551594"/>
              <a:gd name="connsiteX19" fmla="*/ 1542422 w 3139997"/>
              <a:gd name="connsiteY19" fmla="*/ 1551393 h 1551594"/>
              <a:gd name="connsiteX20" fmla="*/ 1393745 w 3139997"/>
              <a:gd name="connsiteY20" fmla="*/ 1544551 h 1551594"/>
              <a:gd name="connsiteX21" fmla="*/ 45591 w 3139997"/>
              <a:gd name="connsiteY21" fmla="*/ 572045 h 1551594"/>
              <a:gd name="connsiteX22" fmla="*/ 0 w 3139997"/>
              <a:gd name="connsiteY22" fmla="*/ 454109 h 1551594"/>
              <a:gd name="connsiteX23" fmla="*/ 786537 w 3139997"/>
              <a:gd name="connsiteY23" fmla="*/ 0 h 1551594"/>
              <a:gd name="connsiteX0" fmla="*/ 880123 w 3135217"/>
              <a:gd name="connsiteY0" fmla="*/ 285882 h 1551594"/>
              <a:gd name="connsiteX1" fmla="*/ 883752 w 3135217"/>
              <a:gd name="connsiteY1" fmla="*/ 292989 h 1551594"/>
              <a:gd name="connsiteX2" fmla="*/ 888149 w 3135217"/>
              <a:gd name="connsiteY2" fmla="*/ 299094 h 1551594"/>
              <a:gd name="connsiteX3" fmla="*/ 880123 w 3135217"/>
              <a:gd name="connsiteY3" fmla="*/ 285882 h 1551594"/>
              <a:gd name="connsiteX4" fmla="*/ 786537 w 3135217"/>
              <a:gd name="connsiteY4" fmla="*/ 0 h 1551594"/>
              <a:gd name="connsiteX5" fmla="*/ 791106 w 3135217"/>
              <a:gd name="connsiteY5" fmla="*/ 27406 h 1551594"/>
              <a:gd name="connsiteX6" fmla="*/ 790601 w 3135217"/>
              <a:gd name="connsiteY6" fmla="*/ 21412 h 1551594"/>
              <a:gd name="connsiteX7" fmla="*/ 797195 w 3135217"/>
              <a:gd name="connsiteY7" fmla="*/ 64619 h 1551594"/>
              <a:gd name="connsiteX8" fmla="*/ 1546801 w 3135217"/>
              <a:gd name="connsiteY8" fmla="*/ 675565 h 1551594"/>
              <a:gd name="connsiteX9" fmla="*/ 2295142 w 3135217"/>
              <a:gd name="connsiteY9" fmla="*/ 69757 h 1551594"/>
              <a:gd name="connsiteX10" fmla="*/ 2305818 w 3135217"/>
              <a:gd name="connsiteY10" fmla="*/ 2775 h 1551594"/>
              <a:gd name="connsiteX11" fmla="*/ 3088073 w 3135217"/>
              <a:gd name="connsiteY11" fmla="*/ 454411 h 1551594"/>
              <a:gd name="connsiteX12" fmla="*/ 3128820 w 3135217"/>
              <a:gd name="connsiteY12" fmla="*/ 324622 h 1551594"/>
              <a:gd name="connsiteX13" fmla="*/ 3135217 w 3135217"/>
              <a:gd name="connsiteY13" fmla="*/ 295514 h 1551594"/>
              <a:gd name="connsiteX14" fmla="*/ 3087546 w 3135217"/>
              <a:gd name="connsiteY14" fmla="*/ 460227 h 1551594"/>
              <a:gd name="connsiteX15" fmla="*/ 1546801 w 3135217"/>
              <a:gd name="connsiteY15" fmla="*/ 1551594 h 1551594"/>
              <a:gd name="connsiteX16" fmla="*/ 1546576 w 3135217"/>
              <a:gd name="connsiteY16" fmla="*/ 1551584 h 1551594"/>
              <a:gd name="connsiteX17" fmla="*/ 1563735 w 3135217"/>
              <a:gd name="connsiteY17" fmla="*/ 1550717 h 1551594"/>
              <a:gd name="connsiteX18" fmla="*/ 1501543 w 3135217"/>
              <a:gd name="connsiteY18" fmla="*/ 1549328 h 1551594"/>
              <a:gd name="connsiteX19" fmla="*/ 1542422 w 3135217"/>
              <a:gd name="connsiteY19" fmla="*/ 1551393 h 1551594"/>
              <a:gd name="connsiteX20" fmla="*/ 1393745 w 3135217"/>
              <a:gd name="connsiteY20" fmla="*/ 1544551 h 1551594"/>
              <a:gd name="connsiteX21" fmla="*/ 45591 w 3135217"/>
              <a:gd name="connsiteY21" fmla="*/ 572045 h 1551594"/>
              <a:gd name="connsiteX22" fmla="*/ 0 w 3135217"/>
              <a:gd name="connsiteY22" fmla="*/ 454109 h 1551594"/>
              <a:gd name="connsiteX23" fmla="*/ 786537 w 3135217"/>
              <a:gd name="connsiteY23" fmla="*/ 0 h 1551594"/>
              <a:gd name="connsiteX0" fmla="*/ 880123 w 3135217"/>
              <a:gd name="connsiteY0" fmla="*/ 285882 h 1551594"/>
              <a:gd name="connsiteX1" fmla="*/ 883752 w 3135217"/>
              <a:gd name="connsiteY1" fmla="*/ 292989 h 1551594"/>
              <a:gd name="connsiteX2" fmla="*/ 888149 w 3135217"/>
              <a:gd name="connsiteY2" fmla="*/ 299094 h 1551594"/>
              <a:gd name="connsiteX3" fmla="*/ 880123 w 3135217"/>
              <a:gd name="connsiteY3" fmla="*/ 285882 h 1551594"/>
              <a:gd name="connsiteX4" fmla="*/ 786537 w 3135217"/>
              <a:gd name="connsiteY4" fmla="*/ 0 h 1551594"/>
              <a:gd name="connsiteX5" fmla="*/ 791106 w 3135217"/>
              <a:gd name="connsiteY5" fmla="*/ 27406 h 1551594"/>
              <a:gd name="connsiteX6" fmla="*/ 790601 w 3135217"/>
              <a:gd name="connsiteY6" fmla="*/ 21412 h 1551594"/>
              <a:gd name="connsiteX7" fmla="*/ 797195 w 3135217"/>
              <a:gd name="connsiteY7" fmla="*/ 64619 h 1551594"/>
              <a:gd name="connsiteX8" fmla="*/ 1546801 w 3135217"/>
              <a:gd name="connsiteY8" fmla="*/ 675565 h 1551594"/>
              <a:gd name="connsiteX9" fmla="*/ 2295142 w 3135217"/>
              <a:gd name="connsiteY9" fmla="*/ 69757 h 1551594"/>
              <a:gd name="connsiteX10" fmla="*/ 2305818 w 3135217"/>
              <a:gd name="connsiteY10" fmla="*/ 2775 h 1551594"/>
              <a:gd name="connsiteX11" fmla="*/ 3088073 w 3135217"/>
              <a:gd name="connsiteY11" fmla="*/ 454411 h 1551594"/>
              <a:gd name="connsiteX12" fmla="*/ 3128820 w 3135217"/>
              <a:gd name="connsiteY12" fmla="*/ 324622 h 1551594"/>
              <a:gd name="connsiteX13" fmla="*/ 3135217 w 3135217"/>
              <a:gd name="connsiteY13" fmla="*/ 295514 h 1551594"/>
              <a:gd name="connsiteX14" fmla="*/ 3087546 w 3135217"/>
              <a:gd name="connsiteY14" fmla="*/ 460227 h 1551594"/>
              <a:gd name="connsiteX15" fmla="*/ 1546801 w 3135217"/>
              <a:gd name="connsiteY15" fmla="*/ 1551594 h 1551594"/>
              <a:gd name="connsiteX16" fmla="*/ 1546576 w 3135217"/>
              <a:gd name="connsiteY16" fmla="*/ 1551584 h 1551594"/>
              <a:gd name="connsiteX17" fmla="*/ 1563735 w 3135217"/>
              <a:gd name="connsiteY17" fmla="*/ 1550717 h 1551594"/>
              <a:gd name="connsiteX18" fmla="*/ 1501543 w 3135217"/>
              <a:gd name="connsiteY18" fmla="*/ 1549328 h 1551594"/>
              <a:gd name="connsiteX19" fmla="*/ 1542422 w 3135217"/>
              <a:gd name="connsiteY19" fmla="*/ 1551393 h 1551594"/>
              <a:gd name="connsiteX20" fmla="*/ 1393745 w 3135217"/>
              <a:gd name="connsiteY20" fmla="*/ 1544551 h 1551594"/>
              <a:gd name="connsiteX21" fmla="*/ 45591 w 3135217"/>
              <a:gd name="connsiteY21" fmla="*/ 572045 h 1551594"/>
              <a:gd name="connsiteX22" fmla="*/ 0 w 3135217"/>
              <a:gd name="connsiteY22" fmla="*/ 454109 h 1551594"/>
              <a:gd name="connsiteX23" fmla="*/ 786537 w 3135217"/>
              <a:gd name="connsiteY23" fmla="*/ 0 h 1551594"/>
              <a:gd name="connsiteX0" fmla="*/ 880123 w 3128821"/>
              <a:gd name="connsiteY0" fmla="*/ 285882 h 1551594"/>
              <a:gd name="connsiteX1" fmla="*/ 883752 w 3128821"/>
              <a:gd name="connsiteY1" fmla="*/ 292989 h 1551594"/>
              <a:gd name="connsiteX2" fmla="*/ 888149 w 3128821"/>
              <a:gd name="connsiteY2" fmla="*/ 299094 h 1551594"/>
              <a:gd name="connsiteX3" fmla="*/ 880123 w 3128821"/>
              <a:gd name="connsiteY3" fmla="*/ 285882 h 1551594"/>
              <a:gd name="connsiteX4" fmla="*/ 786537 w 3128821"/>
              <a:gd name="connsiteY4" fmla="*/ 0 h 1551594"/>
              <a:gd name="connsiteX5" fmla="*/ 791106 w 3128821"/>
              <a:gd name="connsiteY5" fmla="*/ 27406 h 1551594"/>
              <a:gd name="connsiteX6" fmla="*/ 790601 w 3128821"/>
              <a:gd name="connsiteY6" fmla="*/ 21412 h 1551594"/>
              <a:gd name="connsiteX7" fmla="*/ 797195 w 3128821"/>
              <a:gd name="connsiteY7" fmla="*/ 64619 h 1551594"/>
              <a:gd name="connsiteX8" fmla="*/ 1546801 w 3128821"/>
              <a:gd name="connsiteY8" fmla="*/ 675565 h 1551594"/>
              <a:gd name="connsiteX9" fmla="*/ 2295142 w 3128821"/>
              <a:gd name="connsiteY9" fmla="*/ 69757 h 1551594"/>
              <a:gd name="connsiteX10" fmla="*/ 2305818 w 3128821"/>
              <a:gd name="connsiteY10" fmla="*/ 2775 h 1551594"/>
              <a:gd name="connsiteX11" fmla="*/ 3088073 w 3128821"/>
              <a:gd name="connsiteY11" fmla="*/ 454411 h 1551594"/>
              <a:gd name="connsiteX12" fmla="*/ 3128820 w 3128821"/>
              <a:gd name="connsiteY12" fmla="*/ 324622 h 1551594"/>
              <a:gd name="connsiteX13" fmla="*/ 3092302 w 3128821"/>
              <a:gd name="connsiteY13" fmla="*/ 457632 h 1551594"/>
              <a:gd name="connsiteX14" fmla="*/ 3087546 w 3128821"/>
              <a:gd name="connsiteY14" fmla="*/ 460227 h 1551594"/>
              <a:gd name="connsiteX15" fmla="*/ 1546801 w 3128821"/>
              <a:gd name="connsiteY15" fmla="*/ 1551594 h 1551594"/>
              <a:gd name="connsiteX16" fmla="*/ 1546576 w 3128821"/>
              <a:gd name="connsiteY16" fmla="*/ 1551584 h 1551594"/>
              <a:gd name="connsiteX17" fmla="*/ 1563735 w 3128821"/>
              <a:gd name="connsiteY17" fmla="*/ 1550717 h 1551594"/>
              <a:gd name="connsiteX18" fmla="*/ 1501543 w 3128821"/>
              <a:gd name="connsiteY18" fmla="*/ 1549328 h 1551594"/>
              <a:gd name="connsiteX19" fmla="*/ 1542422 w 3128821"/>
              <a:gd name="connsiteY19" fmla="*/ 1551393 h 1551594"/>
              <a:gd name="connsiteX20" fmla="*/ 1393745 w 3128821"/>
              <a:gd name="connsiteY20" fmla="*/ 1544551 h 1551594"/>
              <a:gd name="connsiteX21" fmla="*/ 45591 w 3128821"/>
              <a:gd name="connsiteY21" fmla="*/ 572045 h 1551594"/>
              <a:gd name="connsiteX22" fmla="*/ 0 w 3128821"/>
              <a:gd name="connsiteY22" fmla="*/ 454109 h 1551594"/>
              <a:gd name="connsiteX23" fmla="*/ 786537 w 3128821"/>
              <a:gd name="connsiteY23" fmla="*/ 0 h 1551594"/>
              <a:gd name="connsiteX0" fmla="*/ 880123 w 3100209"/>
              <a:gd name="connsiteY0" fmla="*/ 285882 h 1551594"/>
              <a:gd name="connsiteX1" fmla="*/ 883752 w 3100209"/>
              <a:gd name="connsiteY1" fmla="*/ 292989 h 1551594"/>
              <a:gd name="connsiteX2" fmla="*/ 888149 w 3100209"/>
              <a:gd name="connsiteY2" fmla="*/ 299094 h 1551594"/>
              <a:gd name="connsiteX3" fmla="*/ 880123 w 3100209"/>
              <a:gd name="connsiteY3" fmla="*/ 285882 h 1551594"/>
              <a:gd name="connsiteX4" fmla="*/ 786537 w 3100209"/>
              <a:gd name="connsiteY4" fmla="*/ 0 h 1551594"/>
              <a:gd name="connsiteX5" fmla="*/ 791106 w 3100209"/>
              <a:gd name="connsiteY5" fmla="*/ 27406 h 1551594"/>
              <a:gd name="connsiteX6" fmla="*/ 790601 w 3100209"/>
              <a:gd name="connsiteY6" fmla="*/ 21412 h 1551594"/>
              <a:gd name="connsiteX7" fmla="*/ 797195 w 3100209"/>
              <a:gd name="connsiteY7" fmla="*/ 64619 h 1551594"/>
              <a:gd name="connsiteX8" fmla="*/ 1546801 w 3100209"/>
              <a:gd name="connsiteY8" fmla="*/ 675565 h 1551594"/>
              <a:gd name="connsiteX9" fmla="*/ 2295142 w 3100209"/>
              <a:gd name="connsiteY9" fmla="*/ 69757 h 1551594"/>
              <a:gd name="connsiteX10" fmla="*/ 2305818 w 3100209"/>
              <a:gd name="connsiteY10" fmla="*/ 2775 h 1551594"/>
              <a:gd name="connsiteX11" fmla="*/ 3088073 w 3100209"/>
              <a:gd name="connsiteY11" fmla="*/ 454411 h 1551594"/>
              <a:gd name="connsiteX12" fmla="*/ 3100209 w 3100209"/>
              <a:gd name="connsiteY12" fmla="*/ 439059 h 1551594"/>
              <a:gd name="connsiteX13" fmla="*/ 3092302 w 3100209"/>
              <a:gd name="connsiteY13" fmla="*/ 457632 h 1551594"/>
              <a:gd name="connsiteX14" fmla="*/ 3087546 w 3100209"/>
              <a:gd name="connsiteY14" fmla="*/ 460227 h 1551594"/>
              <a:gd name="connsiteX15" fmla="*/ 1546801 w 3100209"/>
              <a:gd name="connsiteY15" fmla="*/ 1551594 h 1551594"/>
              <a:gd name="connsiteX16" fmla="*/ 1546576 w 3100209"/>
              <a:gd name="connsiteY16" fmla="*/ 1551584 h 1551594"/>
              <a:gd name="connsiteX17" fmla="*/ 1563735 w 3100209"/>
              <a:gd name="connsiteY17" fmla="*/ 1550717 h 1551594"/>
              <a:gd name="connsiteX18" fmla="*/ 1501543 w 3100209"/>
              <a:gd name="connsiteY18" fmla="*/ 1549328 h 1551594"/>
              <a:gd name="connsiteX19" fmla="*/ 1542422 w 3100209"/>
              <a:gd name="connsiteY19" fmla="*/ 1551393 h 1551594"/>
              <a:gd name="connsiteX20" fmla="*/ 1393745 w 3100209"/>
              <a:gd name="connsiteY20" fmla="*/ 1544551 h 1551594"/>
              <a:gd name="connsiteX21" fmla="*/ 45591 w 3100209"/>
              <a:gd name="connsiteY21" fmla="*/ 572045 h 1551594"/>
              <a:gd name="connsiteX22" fmla="*/ 0 w 3100209"/>
              <a:gd name="connsiteY22" fmla="*/ 454109 h 1551594"/>
              <a:gd name="connsiteX23" fmla="*/ 786537 w 3100209"/>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92302" h="1551594">
                <a:moveTo>
                  <a:pt x="880123" y="285882"/>
                </a:moveTo>
                <a:cubicBezTo>
                  <a:pt x="881105" y="288376"/>
                  <a:pt x="882422" y="290684"/>
                  <a:pt x="883752" y="292989"/>
                </a:cubicBezTo>
                <a:lnTo>
                  <a:pt x="888149" y="299094"/>
                </a:lnTo>
                <a:lnTo>
                  <a:pt x="880123" y="285882"/>
                </a:lnTo>
                <a:close/>
                <a:moveTo>
                  <a:pt x="786537" y="0"/>
                </a:moveTo>
                <a:lnTo>
                  <a:pt x="791106" y="27406"/>
                </a:lnTo>
                <a:cubicBezTo>
                  <a:pt x="790938" y="25408"/>
                  <a:pt x="790769" y="23410"/>
                  <a:pt x="790601" y="21412"/>
                </a:cubicBezTo>
                <a:lnTo>
                  <a:pt x="797195" y="64619"/>
                </a:lnTo>
                <a:cubicBezTo>
                  <a:pt x="868542" y="413285"/>
                  <a:pt x="1177042" y="675565"/>
                  <a:pt x="1546801" y="675565"/>
                </a:cubicBezTo>
                <a:cubicBezTo>
                  <a:pt x="1914741" y="675565"/>
                  <a:pt x="2222023" y="415860"/>
                  <a:pt x="2295142" y="69757"/>
                </a:cubicBezTo>
                <a:lnTo>
                  <a:pt x="2305818" y="2775"/>
                </a:lnTo>
                <a:lnTo>
                  <a:pt x="3088073" y="454411"/>
                </a:lnTo>
                <a:cubicBezTo>
                  <a:pt x="3103491" y="411961"/>
                  <a:pt x="3069407" y="506944"/>
                  <a:pt x="3081136" y="462899"/>
                </a:cubicBezTo>
                <a:lnTo>
                  <a:pt x="3092302" y="457632"/>
                </a:lnTo>
                <a:lnTo>
                  <a:pt x="3087546" y="460227"/>
                </a:lnTo>
                <a:cubicBezTo>
                  <a:pt x="2875140" y="1041414"/>
                  <a:pt x="2319483" y="1551594"/>
                  <a:pt x="1546801" y="1551594"/>
                </a:cubicBezTo>
                <a:lnTo>
                  <a:pt x="1546576" y="1551584"/>
                </a:lnTo>
                <a:lnTo>
                  <a:pt x="1563735" y="1550717"/>
                </a:lnTo>
                <a:lnTo>
                  <a:pt x="1501543" y="1549328"/>
                </a:lnTo>
                <a:lnTo>
                  <a:pt x="1542422" y="1551393"/>
                </a:lnTo>
                <a:lnTo>
                  <a:pt x="1393745" y="1544551"/>
                </a:lnTo>
                <a:cubicBezTo>
                  <a:pt x="789032" y="1488624"/>
                  <a:pt x="279483" y="1104614"/>
                  <a:pt x="45591" y="572045"/>
                </a:cubicBezTo>
                <a:lnTo>
                  <a:pt x="0" y="454109"/>
                </a:lnTo>
                <a:lnTo>
                  <a:pt x="786537"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0" name="Freeform 109"/>
          <p:cNvSpPr/>
          <p:nvPr/>
        </p:nvSpPr>
        <p:spPr bwMode="auto">
          <a:xfrm>
            <a:off x="756773" y="2453096"/>
            <a:ext cx="1601944" cy="2131434"/>
          </a:xfrm>
          <a:custGeom>
            <a:avLst/>
            <a:gdLst>
              <a:gd name="connsiteX0" fmla="*/ 1596332 w 1658524"/>
              <a:gd name="connsiteY0" fmla="*/ 3280095 h 3282360"/>
              <a:gd name="connsiteX1" fmla="*/ 1658524 w 1658524"/>
              <a:gd name="connsiteY1" fmla="*/ 3281484 h 3282360"/>
              <a:gd name="connsiteX2" fmla="*/ 1641180 w 1658524"/>
              <a:gd name="connsiteY2" fmla="*/ 3282360 h 3282360"/>
              <a:gd name="connsiteX3" fmla="*/ 974912 w 1658524"/>
              <a:gd name="connsiteY3" fmla="*/ 2016649 h 3282360"/>
              <a:gd name="connsiteX4" fmla="*/ 982938 w 1658524"/>
              <a:gd name="connsiteY4" fmla="*/ 2029861 h 3282360"/>
              <a:gd name="connsiteX5" fmla="*/ 978541 w 1658524"/>
              <a:gd name="connsiteY5" fmla="*/ 2023756 h 3282360"/>
              <a:gd name="connsiteX6" fmla="*/ 974912 w 1658524"/>
              <a:gd name="connsiteY6" fmla="*/ 2016649 h 3282360"/>
              <a:gd name="connsiteX7" fmla="*/ 1634793 w 1658524"/>
              <a:gd name="connsiteY7" fmla="*/ 323 h 3282360"/>
              <a:gd name="connsiteX8" fmla="*/ 1634793 w 1658524"/>
              <a:gd name="connsiteY8" fmla="*/ 876089 h 3282360"/>
              <a:gd name="connsiteX9" fmla="*/ 1635948 w 1658524"/>
              <a:gd name="connsiteY9" fmla="*/ 876030 h 3282360"/>
              <a:gd name="connsiteX10" fmla="*/ 1638554 w 1658524"/>
              <a:gd name="connsiteY10" fmla="*/ 876162 h 3282360"/>
              <a:gd name="connsiteX11" fmla="*/ 1562948 w 1658524"/>
              <a:gd name="connsiteY11" fmla="*/ 879980 h 3282360"/>
              <a:gd name="connsiteX12" fmla="*/ 876029 w 1658524"/>
              <a:gd name="connsiteY12" fmla="*/ 1641180 h 3282360"/>
              <a:gd name="connsiteX13" fmla="*/ 885895 w 1658524"/>
              <a:gd name="connsiteY13" fmla="*/ 1758173 h 3282360"/>
              <a:gd name="connsiteX14" fmla="*/ 881326 w 1658524"/>
              <a:gd name="connsiteY14" fmla="*/ 1730767 h 3282360"/>
              <a:gd name="connsiteX15" fmla="*/ 94266 w 1658524"/>
              <a:gd name="connsiteY15" fmla="*/ 2185177 h 3282360"/>
              <a:gd name="connsiteX16" fmla="*/ 83587 w 1658524"/>
              <a:gd name="connsiteY16" fmla="*/ 2151160 h 3282360"/>
              <a:gd name="connsiteX17" fmla="*/ 80571 w 1658524"/>
              <a:gd name="connsiteY17" fmla="*/ 2141554 h 3282360"/>
              <a:gd name="connsiteX18" fmla="*/ 80572 w 1658524"/>
              <a:gd name="connsiteY18" fmla="*/ 2141559 h 3282360"/>
              <a:gd name="connsiteX19" fmla="*/ 53520 w 1658524"/>
              <a:gd name="connsiteY19" fmla="*/ 2055388 h 3282360"/>
              <a:gd name="connsiteX20" fmla="*/ 0 w 1658524"/>
              <a:gd name="connsiteY20" fmla="*/ 1641180 h 3282360"/>
              <a:gd name="connsiteX21" fmla="*/ 1473379 w 1658524"/>
              <a:gd name="connsiteY21" fmla="*/ 8473 h 3282360"/>
              <a:gd name="connsiteX22" fmla="*/ 1641180 w 1658524"/>
              <a:gd name="connsiteY22" fmla="*/ 0 h 3282360"/>
              <a:gd name="connsiteX23" fmla="*/ 1642335 w 1658524"/>
              <a:gd name="connsiteY23" fmla="*/ 59 h 3282360"/>
              <a:gd name="connsiteX24" fmla="*/ 1642335 w 1658524"/>
              <a:gd name="connsiteY24" fmla="*/ 324 h 3282360"/>
              <a:gd name="connsiteX25" fmla="*/ 1638554 w 1658524"/>
              <a:gd name="connsiteY25" fmla="*/ 133 h 3282360"/>
              <a:gd name="connsiteX0" fmla="*/ 1641180 w 1658524"/>
              <a:gd name="connsiteY0" fmla="*/ 3282360 h 3282360"/>
              <a:gd name="connsiteX1" fmla="*/ 1658524 w 1658524"/>
              <a:gd name="connsiteY1" fmla="*/ 3281484 h 3282360"/>
              <a:gd name="connsiteX2" fmla="*/ 1641180 w 1658524"/>
              <a:gd name="connsiteY2" fmla="*/ 3282360 h 3282360"/>
              <a:gd name="connsiteX3" fmla="*/ 974912 w 1658524"/>
              <a:gd name="connsiteY3" fmla="*/ 2016649 h 3282360"/>
              <a:gd name="connsiteX4" fmla="*/ 982938 w 1658524"/>
              <a:gd name="connsiteY4" fmla="*/ 2029861 h 3282360"/>
              <a:gd name="connsiteX5" fmla="*/ 978541 w 1658524"/>
              <a:gd name="connsiteY5" fmla="*/ 2023756 h 3282360"/>
              <a:gd name="connsiteX6" fmla="*/ 974912 w 1658524"/>
              <a:gd name="connsiteY6" fmla="*/ 2016649 h 3282360"/>
              <a:gd name="connsiteX7" fmla="*/ 1634793 w 1658524"/>
              <a:gd name="connsiteY7" fmla="*/ 323 h 3282360"/>
              <a:gd name="connsiteX8" fmla="*/ 1634793 w 1658524"/>
              <a:gd name="connsiteY8" fmla="*/ 876089 h 3282360"/>
              <a:gd name="connsiteX9" fmla="*/ 1635948 w 1658524"/>
              <a:gd name="connsiteY9" fmla="*/ 876030 h 3282360"/>
              <a:gd name="connsiteX10" fmla="*/ 1638554 w 1658524"/>
              <a:gd name="connsiteY10" fmla="*/ 876162 h 3282360"/>
              <a:gd name="connsiteX11" fmla="*/ 1562948 w 1658524"/>
              <a:gd name="connsiteY11" fmla="*/ 879980 h 3282360"/>
              <a:gd name="connsiteX12" fmla="*/ 876029 w 1658524"/>
              <a:gd name="connsiteY12" fmla="*/ 1641180 h 3282360"/>
              <a:gd name="connsiteX13" fmla="*/ 885895 w 1658524"/>
              <a:gd name="connsiteY13" fmla="*/ 1758173 h 3282360"/>
              <a:gd name="connsiteX14" fmla="*/ 881326 w 1658524"/>
              <a:gd name="connsiteY14" fmla="*/ 1730767 h 3282360"/>
              <a:gd name="connsiteX15" fmla="*/ 94266 w 1658524"/>
              <a:gd name="connsiteY15" fmla="*/ 2185177 h 3282360"/>
              <a:gd name="connsiteX16" fmla="*/ 83587 w 1658524"/>
              <a:gd name="connsiteY16" fmla="*/ 2151160 h 3282360"/>
              <a:gd name="connsiteX17" fmla="*/ 80571 w 1658524"/>
              <a:gd name="connsiteY17" fmla="*/ 2141554 h 3282360"/>
              <a:gd name="connsiteX18" fmla="*/ 80572 w 1658524"/>
              <a:gd name="connsiteY18" fmla="*/ 2141559 h 3282360"/>
              <a:gd name="connsiteX19" fmla="*/ 53520 w 1658524"/>
              <a:gd name="connsiteY19" fmla="*/ 2055388 h 3282360"/>
              <a:gd name="connsiteX20" fmla="*/ 0 w 1658524"/>
              <a:gd name="connsiteY20" fmla="*/ 1641180 h 3282360"/>
              <a:gd name="connsiteX21" fmla="*/ 1473379 w 1658524"/>
              <a:gd name="connsiteY21" fmla="*/ 8473 h 3282360"/>
              <a:gd name="connsiteX22" fmla="*/ 1634793 w 1658524"/>
              <a:gd name="connsiteY22" fmla="*/ 323 h 3282360"/>
              <a:gd name="connsiteX23" fmla="*/ 1641180 w 1658524"/>
              <a:gd name="connsiteY23" fmla="*/ 0 h 3282360"/>
              <a:gd name="connsiteX24" fmla="*/ 1642335 w 1658524"/>
              <a:gd name="connsiteY24" fmla="*/ 59 h 3282360"/>
              <a:gd name="connsiteX25" fmla="*/ 1642335 w 1658524"/>
              <a:gd name="connsiteY25" fmla="*/ 324 h 3282360"/>
              <a:gd name="connsiteX26" fmla="*/ 1638554 w 1658524"/>
              <a:gd name="connsiteY26" fmla="*/ 133 h 3282360"/>
              <a:gd name="connsiteX27" fmla="*/ 1641180 w 1658524"/>
              <a:gd name="connsiteY27" fmla="*/ 0 h 3282360"/>
              <a:gd name="connsiteX0" fmla="*/ 974912 w 1642335"/>
              <a:gd name="connsiteY0" fmla="*/ 2016649 h 2185177"/>
              <a:gd name="connsiteX1" fmla="*/ 982938 w 1642335"/>
              <a:gd name="connsiteY1" fmla="*/ 2029861 h 2185177"/>
              <a:gd name="connsiteX2" fmla="*/ 978541 w 1642335"/>
              <a:gd name="connsiteY2" fmla="*/ 2023756 h 2185177"/>
              <a:gd name="connsiteX3" fmla="*/ 974912 w 1642335"/>
              <a:gd name="connsiteY3" fmla="*/ 2016649 h 2185177"/>
              <a:gd name="connsiteX4" fmla="*/ 1634793 w 1642335"/>
              <a:gd name="connsiteY4" fmla="*/ 323 h 2185177"/>
              <a:gd name="connsiteX5" fmla="*/ 1634793 w 1642335"/>
              <a:gd name="connsiteY5" fmla="*/ 876089 h 2185177"/>
              <a:gd name="connsiteX6" fmla="*/ 1635948 w 1642335"/>
              <a:gd name="connsiteY6" fmla="*/ 876030 h 2185177"/>
              <a:gd name="connsiteX7" fmla="*/ 1638554 w 1642335"/>
              <a:gd name="connsiteY7" fmla="*/ 876162 h 2185177"/>
              <a:gd name="connsiteX8" fmla="*/ 1562948 w 1642335"/>
              <a:gd name="connsiteY8" fmla="*/ 879980 h 2185177"/>
              <a:gd name="connsiteX9" fmla="*/ 876029 w 1642335"/>
              <a:gd name="connsiteY9" fmla="*/ 1641180 h 2185177"/>
              <a:gd name="connsiteX10" fmla="*/ 885895 w 1642335"/>
              <a:gd name="connsiteY10" fmla="*/ 1758173 h 2185177"/>
              <a:gd name="connsiteX11" fmla="*/ 881326 w 1642335"/>
              <a:gd name="connsiteY11" fmla="*/ 1730767 h 2185177"/>
              <a:gd name="connsiteX12" fmla="*/ 94266 w 1642335"/>
              <a:gd name="connsiteY12" fmla="*/ 2185177 h 2185177"/>
              <a:gd name="connsiteX13" fmla="*/ 83587 w 1642335"/>
              <a:gd name="connsiteY13" fmla="*/ 2151160 h 2185177"/>
              <a:gd name="connsiteX14" fmla="*/ 80571 w 1642335"/>
              <a:gd name="connsiteY14" fmla="*/ 2141554 h 2185177"/>
              <a:gd name="connsiteX15" fmla="*/ 80572 w 1642335"/>
              <a:gd name="connsiteY15" fmla="*/ 2141559 h 2185177"/>
              <a:gd name="connsiteX16" fmla="*/ 53520 w 1642335"/>
              <a:gd name="connsiteY16" fmla="*/ 2055388 h 2185177"/>
              <a:gd name="connsiteX17" fmla="*/ 0 w 1642335"/>
              <a:gd name="connsiteY17" fmla="*/ 1641180 h 2185177"/>
              <a:gd name="connsiteX18" fmla="*/ 1473379 w 1642335"/>
              <a:gd name="connsiteY18" fmla="*/ 8473 h 2185177"/>
              <a:gd name="connsiteX19" fmla="*/ 1634793 w 1642335"/>
              <a:gd name="connsiteY19" fmla="*/ 323 h 2185177"/>
              <a:gd name="connsiteX20" fmla="*/ 1641180 w 1642335"/>
              <a:gd name="connsiteY20" fmla="*/ 0 h 2185177"/>
              <a:gd name="connsiteX21" fmla="*/ 1642335 w 1642335"/>
              <a:gd name="connsiteY21" fmla="*/ 59 h 2185177"/>
              <a:gd name="connsiteX22" fmla="*/ 1642335 w 1642335"/>
              <a:gd name="connsiteY22" fmla="*/ 324 h 2185177"/>
              <a:gd name="connsiteX23" fmla="*/ 1638554 w 1642335"/>
              <a:gd name="connsiteY23" fmla="*/ 133 h 2185177"/>
              <a:gd name="connsiteX24" fmla="*/ 1641180 w 1642335"/>
              <a:gd name="connsiteY24" fmla="*/ 0 h 2185177"/>
              <a:gd name="connsiteX0" fmla="*/ 978541 w 1642335"/>
              <a:gd name="connsiteY0" fmla="*/ 2023756 h 2185177"/>
              <a:gd name="connsiteX1" fmla="*/ 982938 w 1642335"/>
              <a:gd name="connsiteY1" fmla="*/ 2029861 h 2185177"/>
              <a:gd name="connsiteX2" fmla="*/ 978541 w 1642335"/>
              <a:gd name="connsiteY2" fmla="*/ 2023756 h 2185177"/>
              <a:gd name="connsiteX3" fmla="*/ 1634793 w 1642335"/>
              <a:gd name="connsiteY3" fmla="*/ 323 h 2185177"/>
              <a:gd name="connsiteX4" fmla="*/ 1634793 w 1642335"/>
              <a:gd name="connsiteY4" fmla="*/ 876089 h 2185177"/>
              <a:gd name="connsiteX5" fmla="*/ 1635948 w 1642335"/>
              <a:gd name="connsiteY5" fmla="*/ 876030 h 2185177"/>
              <a:gd name="connsiteX6" fmla="*/ 1638554 w 1642335"/>
              <a:gd name="connsiteY6" fmla="*/ 876162 h 2185177"/>
              <a:gd name="connsiteX7" fmla="*/ 1562948 w 1642335"/>
              <a:gd name="connsiteY7" fmla="*/ 879980 h 2185177"/>
              <a:gd name="connsiteX8" fmla="*/ 876029 w 1642335"/>
              <a:gd name="connsiteY8" fmla="*/ 1641180 h 2185177"/>
              <a:gd name="connsiteX9" fmla="*/ 885895 w 1642335"/>
              <a:gd name="connsiteY9" fmla="*/ 1758173 h 2185177"/>
              <a:gd name="connsiteX10" fmla="*/ 881326 w 1642335"/>
              <a:gd name="connsiteY10" fmla="*/ 1730767 h 2185177"/>
              <a:gd name="connsiteX11" fmla="*/ 94266 w 1642335"/>
              <a:gd name="connsiteY11" fmla="*/ 2185177 h 2185177"/>
              <a:gd name="connsiteX12" fmla="*/ 83587 w 1642335"/>
              <a:gd name="connsiteY12" fmla="*/ 2151160 h 2185177"/>
              <a:gd name="connsiteX13" fmla="*/ 80571 w 1642335"/>
              <a:gd name="connsiteY13" fmla="*/ 2141554 h 2185177"/>
              <a:gd name="connsiteX14" fmla="*/ 80572 w 1642335"/>
              <a:gd name="connsiteY14" fmla="*/ 2141559 h 2185177"/>
              <a:gd name="connsiteX15" fmla="*/ 53520 w 1642335"/>
              <a:gd name="connsiteY15" fmla="*/ 2055388 h 2185177"/>
              <a:gd name="connsiteX16" fmla="*/ 0 w 1642335"/>
              <a:gd name="connsiteY16" fmla="*/ 1641180 h 2185177"/>
              <a:gd name="connsiteX17" fmla="*/ 1473379 w 1642335"/>
              <a:gd name="connsiteY17" fmla="*/ 8473 h 2185177"/>
              <a:gd name="connsiteX18" fmla="*/ 1634793 w 1642335"/>
              <a:gd name="connsiteY18" fmla="*/ 323 h 2185177"/>
              <a:gd name="connsiteX19" fmla="*/ 1641180 w 1642335"/>
              <a:gd name="connsiteY19" fmla="*/ 0 h 2185177"/>
              <a:gd name="connsiteX20" fmla="*/ 1642335 w 1642335"/>
              <a:gd name="connsiteY20" fmla="*/ 59 h 2185177"/>
              <a:gd name="connsiteX21" fmla="*/ 1642335 w 1642335"/>
              <a:gd name="connsiteY21" fmla="*/ 324 h 2185177"/>
              <a:gd name="connsiteX22" fmla="*/ 1638554 w 1642335"/>
              <a:gd name="connsiteY22" fmla="*/ 133 h 2185177"/>
              <a:gd name="connsiteX23" fmla="*/ 1641180 w 1642335"/>
              <a:gd name="connsiteY23" fmla="*/ 0 h 2185177"/>
              <a:gd name="connsiteX0" fmla="*/ 1634793 w 1642335"/>
              <a:gd name="connsiteY0" fmla="*/ 323 h 2185177"/>
              <a:gd name="connsiteX1" fmla="*/ 1634793 w 1642335"/>
              <a:gd name="connsiteY1" fmla="*/ 876089 h 2185177"/>
              <a:gd name="connsiteX2" fmla="*/ 1635948 w 1642335"/>
              <a:gd name="connsiteY2" fmla="*/ 876030 h 2185177"/>
              <a:gd name="connsiteX3" fmla="*/ 1638554 w 1642335"/>
              <a:gd name="connsiteY3" fmla="*/ 876162 h 2185177"/>
              <a:gd name="connsiteX4" fmla="*/ 1562948 w 1642335"/>
              <a:gd name="connsiteY4" fmla="*/ 879980 h 2185177"/>
              <a:gd name="connsiteX5" fmla="*/ 876029 w 1642335"/>
              <a:gd name="connsiteY5" fmla="*/ 1641180 h 2185177"/>
              <a:gd name="connsiteX6" fmla="*/ 885895 w 1642335"/>
              <a:gd name="connsiteY6" fmla="*/ 1758173 h 2185177"/>
              <a:gd name="connsiteX7" fmla="*/ 881326 w 1642335"/>
              <a:gd name="connsiteY7" fmla="*/ 1730767 h 2185177"/>
              <a:gd name="connsiteX8" fmla="*/ 94266 w 1642335"/>
              <a:gd name="connsiteY8" fmla="*/ 2185177 h 2185177"/>
              <a:gd name="connsiteX9" fmla="*/ 83587 w 1642335"/>
              <a:gd name="connsiteY9" fmla="*/ 2151160 h 2185177"/>
              <a:gd name="connsiteX10" fmla="*/ 80571 w 1642335"/>
              <a:gd name="connsiteY10" fmla="*/ 2141554 h 2185177"/>
              <a:gd name="connsiteX11" fmla="*/ 80572 w 1642335"/>
              <a:gd name="connsiteY11" fmla="*/ 2141559 h 2185177"/>
              <a:gd name="connsiteX12" fmla="*/ 53520 w 1642335"/>
              <a:gd name="connsiteY12" fmla="*/ 2055388 h 2185177"/>
              <a:gd name="connsiteX13" fmla="*/ 0 w 1642335"/>
              <a:gd name="connsiteY13" fmla="*/ 1641180 h 2185177"/>
              <a:gd name="connsiteX14" fmla="*/ 1473379 w 1642335"/>
              <a:gd name="connsiteY14" fmla="*/ 8473 h 2185177"/>
              <a:gd name="connsiteX15" fmla="*/ 1634793 w 1642335"/>
              <a:gd name="connsiteY15" fmla="*/ 323 h 2185177"/>
              <a:gd name="connsiteX16" fmla="*/ 1641180 w 1642335"/>
              <a:gd name="connsiteY16" fmla="*/ 0 h 2185177"/>
              <a:gd name="connsiteX17" fmla="*/ 1642335 w 1642335"/>
              <a:gd name="connsiteY17" fmla="*/ 59 h 2185177"/>
              <a:gd name="connsiteX18" fmla="*/ 1642335 w 1642335"/>
              <a:gd name="connsiteY18" fmla="*/ 324 h 2185177"/>
              <a:gd name="connsiteX19" fmla="*/ 1638554 w 1642335"/>
              <a:gd name="connsiteY19" fmla="*/ 133 h 2185177"/>
              <a:gd name="connsiteX20" fmla="*/ 1641180 w 1642335"/>
              <a:gd name="connsiteY20" fmla="*/ 0 h 218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2335" h="2185177">
                <a:moveTo>
                  <a:pt x="1634793" y="323"/>
                </a:moveTo>
                <a:lnTo>
                  <a:pt x="1634793" y="876089"/>
                </a:lnTo>
                <a:cubicBezTo>
                  <a:pt x="1635178" y="876030"/>
                  <a:pt x="1635563" y="876030"/>
                  <a:pt x="1635948" y="876030"/>
                </a:cubicBezTo>
                <a:lnTo>
                  <a:pt x="1638554" y="876162"/>
                </a:lnTo>
                <a:lnTo>
                  <a:pt x="1562948" y="879980"/>
                </a:lnTo>
                <a:cubicBezTo>
                  <a:pt x="1177116" y="919163"/>
                  <a:pt x="876029" y="1245010"/>
                  <a:pt x="876029" y="1641180"/>
                </a:cubicBezTo>
                <a:cubicBezTo>
                  <a:pt x="876029" y="1681011"/>
                  <a:pt x="879073" y="1720131"/>
                  <a:pt x="885895" y="1758173"/>
                </a:cubicBezTo>
                <a:lnTo>
                  <a:pt x="881326" y="1730767"/>
                </a:lnTo>
                <a:lnTo>
                  <a:pt x="94266" y="2185177"/>
                </a:lnTo>
                <a:lnTo>
                  <a:pt x="83587" y="2151160"/>
                </a:lnTo>
                <a:lnTo>
                  <a:pt x="80571" y="2141554"/>
                </a:lnTo>
                <a:cubicBezTo>
                  <a:pt x="80571" y="2141556"/>
                  <a:pt x="80572" y="2141557"/>
                  <a:pt x="80572" y="2141559"/>
                </a:cubicBezTo>
                <a:lnTo>
                  <a:pt x="53520" y="2055388"/>
                </a:lnTo>
                <a:cubicBezTo>
                  <a:pt x="18335" y="1923253"/>
                  <a:pt x="0" y="1784358"/>
                  <a:pt x="0" y="1641180"/>
                </a:cubicBezTo>
                <a:cubicBezTo>
                  <a:pt x="0" y="791432"/>
                  <a:pt x="645805" y="92518"/>
                  <a:pt x="1473379" y="8473"/>
                </a:cubicBezTo>
                <a:lnTo>
                  <a:pt x="1634793" y="323"/>
                </a:lnTo>
                <a:close/>
                <a:moveTo>
                  <a:pt x="1641180" y="0"/>
                </a:moveTo>
                <a:lnTo>
                  <a:pt x="1642335" y="59"/>
                </a:lnTo>
                <a:lnTo>
                  <a:pt x="1642335" y="324"/>
                </a:lnTo>
                <a:lnTo>
                  <a:pt x="1638554" y="133"/>
                </a:lnTo>
                <a:lnTo>
                  <a:pt x="1641180" y="0"/>
                </a:lnTo>
                <a:close/>
              </a:path>
            </a:pathLst>
          </a:cu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0" name="Donut 28"/>
          <p:cNvSpPr/>
          <p:nvPr/>
        </p:nvSpPr>
        <p:spPr bwMode="auto">
          <a:xfrm flipH="1">
            <a:off x="2387039" y="2453097"/>
            <a:ext cx="1601944" cy="2131434"/>
          </a:xfrm>
          <a:custGeom>
            <a:avLst/>
            <a:gdLst>
              <a:gd name="connsiteX0" fmla="*/ 1966050 w 1986827"/>
              <a:gd name="connsiteY0" fmla="*/ 3932100 h 3932100"/>
              <a:gd name="connsiteX1" fmla="*/ 1986827 w 1986827"/>
              <a:gd name="connsiteY1" fmla="*/ 3931051 h 3932100"/>
              <a:gd name="connsiteX2" fmla="*/ 1966050 w 1986827"/>
              <a:gd name="connsiteY2" fmla="*/ 3932100 h 3932100"/>
              <a:gd name="connsiteX3" fmla="*/ 1167894 w 1986827"/>
              <a:gd name="connsiteY3" fmla="*/ 2415843 h 3932100"/>
              <a:gd name="connsiteX4" fmla="*/ 1177509 w 1986827"/>
              <a:gd name="connsiteY4" fmla="*/ 2431670 h 3932100"/>
              <a:gd name="connsiteX5" fmla="*/ 1172242 w 1986827"/>
              <a:gd name="connsiteY5" fmla="*/ 2424356 h 3932100"/>
              <a:gd name="connsiteX6" fmla="*/ 1167894 w 1986827"/>
              <a:gd name="connsiteY6" fmla="*/ 2415843 h 3932100"/>
              <a:gd name="connsiteX7" fmla="*/ 1966050 w 1986827"/>
              <a:gd name="connsiteY7" fmla="*/ 0 h 3932100"/>
              <a:gd name="connsiteX8" fmla="*/ 1967433 w 1986827"/>
              <a:gd name="connsiteY8" fmla="*/ 70 h 3932100"/>
              <a:gd name="connsiteX9" fmla="*/ 1967433 w 1986827"/>
              <a:gd name="connsiteY9" fmla="*/ 1049508 h 3932100"/>
              <a:gd name="connsiteX10" fmla="*/ 1966050 w 1986827"/>
              <a:gd name="connsiteY10" fmla="*/ 1049438 h 3932100"/>
              <a:gd name="connsiteX11" fmla="*/ 1049438 w 1986827"/>
              <a:gd name="connsiteY11" fmla="*/ 1966050 h 3932100"/>
              <a:gd name="connsiteX12" fmla="*/ 1061257 w 1986827"/>
              <a:gd name="connsiteY12" fmla="*/ 2106201 h 3932100"/>
              <a:gd name="connsiteX13" fmla="*/ 1055783 w 1986827"/>
              <a:gd name="connsiteY13" fmla="*/ 2073370 h 3932100"/>
              <a:gd name="connsiteX14" fmla="*/ 112926 w 1986827"/>
              <a:gd name="connsiteY14" fmla="*/ 2617730 h 3932100"/>
              <a:gd name="connsiteX15" fmla="*/ 0 w 1986827"/>
              <a:gd name="connsiteY15" fmla="*/ 1966050 h 3932100"/>
              <a:gd name="connsiteX16" fmla="*/ 1966050 w 1986827"/>
              <a:gd name="connsiteY16" fmla="*/ 0 h 3932100"/>
              <a:gd name="connsiteX0" fmla="*/ 1167894 w 1967433"/>
              <a:gd name="connsiteY0" fmla="*/ 2415843 h 2617729"/>
              <a:gd name="connsiteX1" fmla="*/ 1177509 w 1967433"/>
              <a:gd name="connsiteY1" fmla="*/ 2431670 h 2617729"/>
              <a:gd name="connsiteX2" fmla="*/ 1172242 w 1967433"/>
              <a:gd name="connsiteY2" fmla="*/ 2424356 h 2617729"/>
              <a:gd name="connsiteX3" fmla="*/ 1167894 w 1967433"/>
              <a:gd name="connsiteY3" fmla="*/ 2415843 h 2617729"/>
              <a:gd name="connsiteX4" fmla="*/ 1966050 w 1967433"/>
              <a:gd name="connsiteY4" fmla="*/ 0 h 2617729"/>
              <a:gd name="connsiteX5" fmla="*/ 1967433 w 1967433"/>
              <a:gd name="connsiteY5" fmla="*/ 70 h 2617729"/>
              <a:gd name="connsiteX6" fmla="*/ 1967433 w 1967433"/>
              <a:gd name="connsiteY6" fmla="*/ 1049508 h 2617729"/>
              <a:gd name="connsiteX7" fmla="*/ 1966050 w 1967433"/>
              <a:gd name="connsiteY7" fmla="*/ 1049438 h 2617729"/>
              <a:gd name="connsiteX8" fmla="*/ 1049438 w 1967433"/>
              <a:gd name="connsiteY8" fmla="*/ 1966050 h 2617729"/>
              <a:gd name="connsiteX9" fmla="*/ 1061257 w 1967433"/>
              <a:gd name="connsiteY9" fmla="*/ 2106201 h 2617729"/>
              <a:gd name="connsiteX10" fmla="*/ 1055783 w 1967433"/>
              <a:gd name="connsiteY10" fmla="*/ 2073370 h 2617729"/>
              <a:gd name="connsiteX11" fmla="*/ 112926 w 1967433"/>
              <a:gd name="connsiteY11" fmla="*/ 2617730 h 2617729"/>
              <a:gd name="connsiteX12" fmla="*/ 0 w 1967433"/>
              <a:gd name="connsiteY12" fmla="*/ 1966050 h 2617729"/>
              <a:gd name="connsiteX13" fmla="*/ 1966050 w 1967433"/>
              <a:gd name="connsiteY13" fmla="*/ 0 h 2617729"/>
              <a:gd name="connsiteX0" fmla="*/ 1172242 w 1967433"/>
              <a:gd name="connsiteY0" fmla="*/ 2424356 h 2617730"/>
              <a:gd name="connsiteX1" fmla="*/ 1177509 w 1967433"/>
              <a:gd name="connsiteY1" fmla="*/ 2431670 h 2617730"/>
              <a:gd name="connsiteX2" fmla="*/ 1172242 w 1967433"/>
              <a:gd name="connsiteY2" fmla="*/ 2424356 h 2617730"/>
              <a:gd name="connsiteX3" fmla="*/ 1966050 w 1967433"/>
              <a:gd name="connsiteY3" fmla="*/ 0 h 2617730"/>
              <a:gd name="connsiteX4" fmla="*/ 1967433 w 1967433"/>
              <a:gd name="connsiteY4" fmla="*/ 70 h 2617730"/>
              <a:gd name="connsiteX5" fmla="*/ 1967433 w 1967433"/>
              <a:gd name="connsiteY5" fmla="*/ 1049508 h 2617730"/>
              <a:gd name="connsiteX6" fmla="*/ 1966050 w 1967433"/>
              <a:gd name="connsiteY6" fmla="*/ 1049438 h 2617730"/>
              <a:gd name="connsiteX7" fmla="*/ 1049438 w 1967433"/>
              <a:gd name="connsiteY7" fmla="*/ 1966050 h 2617730"/>
              <a:gd name="connsiteX8" fmla="*/ 1061257 w 1967433"/>
              <a:gd name="connsiteY8" fmla="*/ 2106201 h 2617730"/>
              <a:gd name="connsiteX9" fmla="*/ 1055783 w 1967433"/>
              <a:gd name="connsiteY9" fmla="*/ 2073370 h 2617730"/>
              <a:gd name="connsiteX10" fmla="*/ 112926 w 1967433"/>
              <a:gd name="connsiteY10" fmla="*/ 2617730 h 2617730"/>
              <a:gd name="connsiteX11" fmla="*/ 0 w 1967433"/>
              <a:gd name="connsiteY11" fmla="*/ 1966050 h 2617730"/>
              <a:gd name="connsiteX12" fmla="*/ 1966050 w 1967433"/>
              <a:gd name="connsiteY12" fmla="*/ 0 h 2617730"/>
              <a:gd name="connsiteX0" fmla="*/ 1966050 w 1967433"/>
              <a:gd name="connsiteY0" fmla="*/ 0 h 2617730"/>
              <a:gd name="connsiteX1" fmla="*/ 1967433 w 1967433"/>
              <a:gd name="connsiteY1" fmla="*/ 70 h 2617730"/>
              <a:gd name="connsiteX2" fmla="*/ 1967433 w 1967433"/>
              <a:gd name="connsiteY2" fmla="*/ 1049508 h 2617730"/>
              <a:gd name="connsiteX3" fmla="*/ 1966050 w 1967433"/>
              <a:gd name="connsiteY3" fmla="*/ 1049438 h 2617730"/>
              <a:gd name="connsiteX4" fmla="*/ 1049438 w 1967433"/>
              <a:gd name="connsiteY4" fmla="*/ 1966050 h 2617730"/>
              <a:gd name="connsiteX5" fmla="*/ 1061257 w 1967433"/>
              <a:gd name="connsiteY5" fmla="*/ 2106201 h 2617730"/>
              <a:gd name="connsiteX6" fmla="*/ 1055783 w 1967433"/>
              <a:gd name="connsiteY6" fmla="*/ 2073370 h 2617730"/>
              <a:gd name="connsiteX7" fmla="*/ 112926 w 1967433"/>
              <a:gd name="connsiteY7" fmla="*/ 2617730 h 2617730"/>
              <a:gd name="connsiteX8" fmla="*/ 0 w 1967433"/>
              <a:gd name="connsiteY8" fmla="*/ 1966050 h 2617730"/>
              <a:gd name="connsiteX9" fmla="*/ 1966050 w 1967433"/>
              <a:gd name="connsiteY9" fmla="*/ 0 h 261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7433" h="2617730">
                <a:moveTo>
                  <a:pt x="1966050" y="0"/>
                </a:moveTo>
                <a:lnTo>
                  <a:pt x="1967433" y="70"/>
                </a:lnTo>
                <a:lnTo>
                  <a:pt x="1967433" y="1049508"/>
                </a:lnTo>
                <a:cubicBezTo>
                  <a:pt x="1966972" y="1049438"/>
                  <a:pt x="1966511" y="1049438"/>
                  <a:pt x="1966050" y="1049438"/>
                </a:cubicBezTo>
                <a:cubicBezTo>
                  <a:pt x="1459819" y="1049438"/>
                  <a:pt x="1049438" y="1459819"/>
                  <a:pt x="1049438" y="1966050"/>
                </a:cubicBezTo>
                <a:cubicBezTo>
                  <a:pt x="1049438" y="2013765"/>
                  <a:pt x="1053084" y="2060629"/>
                  <a:pt x="1061257" y="2106201"/>
                </a:cubicBezTo>
                <a:lnTo>
                  <a:pt x="1055783" y="2073370"/>
                </a:lnTo>
                <a:lnTo>
                  <a:pt x="112926" y="2617730"/>
                </a:lnTo>
                <a:cubicBezTo>
                  <a:pt x="39047" y="2414315"/>
                  <a:pt x="0" y="2194742"/>
                  <a:pt x="0" y="1966050"/>
                </a:cubicBezTo>
                <a:cubicBezTo>
                  <a:pt x="0" y="880231"/>
                  <a:pt x="880231" y="0"/>
                  <a:pt x="1966050" y="0"/>
                </a:cubicBez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1" name="Oval 120"/>
          <p:cNvSpPr/>
          <p:nvPr/>
        </p:nvSpPr>
        <p:spPr bwMode="auto">
          <a:xfrm>
            <a:off x="1586875" y="3276802"/>
            <a:ext cx="1566846" cy="156684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b="1" dirty="0">
              <a:solidFill>
                <a:srgbClr val="FFFFFF"/>
              </a:solidFill>
              <a:latin typeface="Segoe UI Light"/>
              <a:ea typeface="Segoe UI" pitchFamily="34" charset="0"/>
              <a:cs typeface="Segoe UI" pitchFamily="34" charset="0"/>
            </a:endParaRPr>
          </a:p>
        </p:txBody>
      </p:sp>
      <p:grpSp>
        <p:nvGrpSpPr>
          <p:cNvPr id="122" name="Group 121"/>
          <p:cNvGrpSpPr/>
          <p:nvPr/>
        </p:nvGrpSpPr>
        <p:grpSpPr>
          <a:xfrm>
            <a:off x="1046839" y="2705531"/>
            <a:ext cx="2927765" cy="2736748"/>
            <a:chOff x="1318785" y="2813121"/>
            <a:chExt cx="2986897" cy="2792022"/>
          </a:xfrm>
        </p:grpSpPr>
        <p:sp>
          <p:nvSpPr>
            <p:cNvPr id="139" name="icon GEARS"/>
            <p:cNvSpPr>
              <a:spLocks noEditPoints="1"/>
            </p:cNvSpPr>
            <p:nvPr/>
          </p:nvSpPr>
          <p:spPr bwMode="auto">
            <a:xfrm>
              <a:off x="1318785" y="3399586"/>
              <a:ext cx="655257" cy="54708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1"/>
            </a:solidFill>
            <a:ln>
              <a:noFill/>
            </a:ln>
            <a:extLst/>
          </p:spPr>
          <p:txBody>
            <a:bodyPr/>
            <a:lstStyle/>
            <a:p>
              <a:pPr defTabSz="913330" fontAlgn="base">
                <a:spcBef>
                  <a:spcPct val="0"/>
                </a:spcBef>
                <a:spcAft>
                  <a:spcPct val="0"/>
                </a:spcAft>
              </a:pPr>
              <a:endParaRPr lang="en-US" sz="1961">
                <a:solidFill>
                  <a:srgbClr val="000000"/>
                </a:solidFill>
                <a:ea typeface="MS PGothic" charset="0"/>
              </a:endParaRPr>
            </a:p>
          </p:txBody>
        </p:sp>
        <p:grpSp>
          <p:nvGrpSpPr>
            <p:cNvPr id="140" name="Group 139"/>
            <p:cNvGrpSpPr/>
            <p:nvPr/>
          </p:nvGrpSpPr>
          <p:grpSpPr>
            <a:xfrm>
              <a:off x="2140924" y="5097561"/>
              <a:ext cx="428465" cy="507582"/>
              <a:chOff x="4583208" y="4043392"/>
              <a:chExt cx="664910" cy="787691"/>
            </a:xfrm>
          </p:grpSpPr>
          <p:sp>
            <p:nvSpPr>
              <p:cNvPr id="148" name="Freeform 9"/>
              <p:cNvSpPr>
                <a:spLocks noEditPoints="1"/>
              </p:cNvSpPr>
              <p:nvPr/>
            </p:nvSpPr>
            <p:spPr bwMode="auto">
              <a:xfrm>
                <a:off x="4583208" y="4043392"/>
                <a:ext cx="664910" cy="787691"/>
              </a:xfrm>
              <a:custGeom>
                <a:avLst/>
                <a:gdLst>
                  <a:gd name="T0" fmla="*/ 473133 w 2604"/>
                  <a:gd name="T1" fmla="*/ 59369 h 3084"/>
                  <a:gd name="T2" fmla="*/ 420184 w 2604"/>
                  <a:gd name="T3" fmla="*/ 28361 h 3084"/>
                  <a:gd name="T4" fmla="*/ 341707 w 2604"/>
                  <a:gd name="T5" fmla="*/ 7563 h 3084"/>
                  <a:gd name="T6" fmla="*/ 246778 w 2604"/>
                  <a:gd name="T7" fmla="*/ 0 h 3084"/>
                  <a:gd name="T8" fmla="*/ 246778 w 2604"/>
                  <a:gd name="T9" fmla="*/ 0 h 3084"/>
                  <a:gd name="T10" fmla="*/ 246778 w 2604"/>
                  <a:gd name="T11" fmla="*/ 0 h 3084"/>
                  <a:gd name="T12" fmla="*/ 246211 w 2604"/>
                  <a:gd name="T13" fmla="*/ 0 h 3084"/>
                  <a:gd name="T14" fmla="*/ 245643 w 2604"/>
                  <a:gd name="T15" fmla="*/ 0 h 3084"/>
                  <a:gd name="T16" fmla="*/ 245643 w 2604"/>
                  <a:gd name="T17" fmla="*/ 0 h 3084"/>
                  <a:gd name="T18" fmla="*/ 245643 w 2604"/>
                  <a:gd name="T19" fmla="*/ 0 h 3084"/>
                  <a:gd name="T20" fmla="*/ 150714 w 2604"/>
                  <a:gd name="T21" fmla="*/ 7563 h 3084"/>
                  <a:gd name="T22" fmla="*/ 72237 w 2604"/>
                  <a:gd name="T23" fmla="*/ 28361 h 3084"/>
                  <a:gd name="T24" fmla="*/ 19288 w 2604"/>
                  <a:gd name="T25" fmla="*/ 59369 h 3084"/>
                  <a:gd name="T26" fmla="*/ 0 w 2604"/>
                  <a:gd name="T27" fmla="*/ 97183 h 3084"/>
                  <a:gd name="T28" fmla="*/ 0 w 2604"/>
                  <a:gd name="T29" fmla="*/ 485916 h 3084"/>
                  <a:gd name="T30" fmla="*/ 4917 w 2604"/>
                  <a:gd name="T31" fmla="*/ 505390 h 3084"/>
                  <a:gd name="T32" fmla="*/ 19288 w 2604"/>
                  <a:gd name="T33" fmla="*/ 523730 h 3084"/>
                  <a:gd name="T34" fmla="*/ 72237 w 2604"/>
                  <a:gd name="T35" fmla="*/ 554549 h 3084"/>
                  <a:gd name="T36" fmla="*/ 245643 w 2604"/>
                  <a:gd name="T37" fmla="*/ 583099 h 3084"/>
                  <a:gd name="T38" fmla="*/ 245643 w 2604"/>
                  <a:gd name="T39" fmla="*/ 583099 h 3084"/>
                  <a:gd name="T40" fmla="*/ 245643 w 2604"/>
                  <a:gd name="T41" fmla="*/ 583099 h 3084"/>
                  <a:gd name="T42" fmla="*/ 246211 w 2604"/>
                  <a:gd name="T43" fmla="*/ 583099 h 3084"/>
                  <a:gd name="T44" fmla="*/ 246778 w 2604"/>
                  <a:gd name="T45" fmla="*/ 583099 h 3084"/>
                  <a:gd name="T46" fmla="*/ 246778 w 2604"/>
                  <a:gd name="T47" fmla="*/ 583099 h 3084"/>
                  <a:gd name="T48" fmla="*/ 246778 w 2604"/>
                  <a:gd name="T49" fmla="*/ 583099 h 3084"/>
                  <a:gd name="T50" fmla="*/ 420184 w 2604"/>
                  <a:gd name="T51" fmla="*/ 554549 h 3084"/>
                  <a:gd name="T52" fmla="*/ 473133 w 2604"/>
                  <a:gd name="T53" fmla="*/ 523730 h 3084"/>
                  <a:gd name="T54" fmla="*/ 487504 w 2604"/>
                  <a:gd name="T55" fmla="*/ 505390 h 3084"/>
                  <a:gd name="T56" fmla="*/ 492421 w 2604"/>
                  <a:gd name="T57" fmla="*/ 485916 h 3084"/>
                  <a:gd name="T58" fmla="*/ 492421 w 2604"/>
                  <a:gd name="T59" fmla="*/ 97183 h 3084"/>
                  <a:gd name="T60" fmla="*/ 473133 w 2604"/>
                  <a:gd name="T61" fmla="*/ 59369 h 3084"/>
                  <a:gd name="T62" fmla="*/ 246211 w 2604"/>
                  <a:gd name="T63" fmla="*/ 145586 h 3084"/>
                  <a:gd name="T64" fmla="*/ 43304 w 2604"/>
                  <a:gd name="T65" fmla="*/ 87351 h 3084"/>
                  <a:gd name="T66" fmla="*/ 246211 w 2604"/>
                  <a:gd name="T67" fmla="*/ 29117 h 3084"/>
                  <a:gd name="T68" fmla="*/ 449117 w 2604"/>
                  <a:gd name="T69" fmla="*/ 87351 h 3084"/>
                  <a:gd name="T70" fmla="*/ 246211 w 2604"/>
                  <a:gd name="T71" fmla="*/ 145586 h 30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604" h="3084">
                    <a:moveTo>
                      <a:pt x="2502" y="314"/>
                    </a:moveTo>
                    <a:cubicBezTo>
                      <a:pt x="2436" y="252"/>
                      <a:pt x="2340" y="197"/>
                      <a:pt x="2222" y="150"/>
                    </a:cubicBezTo>
                    <a:cubicBezTo>
                      <a:pt x="2104" y="104"/>
                      <a:pt x="1963" y="66"/>
                      <a:pt x="1807" y="40"/>
                    </a:cubicBezTo>
                    <a:cubicBezTo>
                      <a:pt x="1652" y="14"/>
                      <a:pt x="1483" y="0"/>
                      <a:pt x="1305" y="0"/>
                    </a:cubicBezTo>
                    <a:cubicBezTo>
                      <a:pt x="1305" y="0"/>
                      <a:pt x="1305" y="0"/>
                      <a:pt x="1305" y="0"/>
                    </a:cubicBezTo>
                    <a:cubicBezTo>
                      <a:pt x="1305" y="0"/>
                      <a:pt x="1305" y="0"/>
                      <a:pt x="1305" y="0"/>
                    </a:cubicBezTo>
                    <a:cubicBezTo>
                      <a:pt x="1304" y="0"/>
                      <a:pt x="1303" y="0"/>
                      <a:pt x="1302" y="0"/>
                    </a:cubicBezTo>
                    <a:cubicBezTo>
                      <a:pt x="1301" y="0"/>
                      <a:pt x="1300" y="0"/>
                      <a:pt x="1299" y="0"/>
                    </a:cubicBezTo>
                    <a:cubicBezTo>
                      <a:pt x="1299" y="0"/>
                      <a:pt x="1299" y="0"/>
                      <a:pt x="1299" y="0"/>
                    </a:cubicBezTo>
                    <a:cubicBezTo>
                      <a:pt x="1299" y="0"/>
                      <a:pt x="1299" y="0"/>
                      <a:pt x="1299" y="0"/>
                    </a:cubicBezTo>
                    <a:cubicBezTo>
                      <a:pt x="1121" y="0"/>
                      <a:pt x="951" y="14"/>
                      <a:pt x="797" y="40"/>
                    </a:cubicBezTo>
                    <a:cubicBezTo>
                      <a:pt x="641" y="66"/>
                      <a:pt x="500" y="104"/>
                      <a:pt x="382" y="150"/>
                    </a:cubicBezTo>
                    <a:cubicBezTo>
                      <a:pt x="264" y="197"/>
                      <a:pt x="168" y="252"/>
                      <a:pt x="102" y="314"/>
                    </a:cubicBezTo>
                    <a:cubicBezTo>
                      <a:pt x="36" y="375"/>
                      <a:pt x="0" y="443"/>
                      <a:pt x="0" y="514"/>
                    </a:cubicBezTo>
                    <a:cubicBezTo>
                      <a:pt x="0" y="2570"/>
                      <a:pt x="0" y="2570"/>
                      <a:pt x="0" y="2570"/>
                    </a:cubicBezTo>
                    <a:cubicBezTo>
                      <a:pt x="0" y="2605"/>
                      <a:pt x="9" y="2640"/>
                      <a:pt x="26" y="2673"/>
                    </a:cubicBezTo>
                    <a:cubicBezTo>
                      <a:pt x="44" y="2707"/>
                      <a:pt x="69" y="2739"/>
                      <a:pt x="102" y="2770"/>
                    </a:cubicBezTo>
                    <a:cubicBezTo>
                      <a:pt x="168" y="2831"/>
                      <a:pt x="264" y="2887"/>
                      <a:pt x="382" y="2933"/>
                    </a:cubicBezTo>
                    <a:cubicBezTo>
                      <a:pt x="617" y="3026"/>
                      <a:pt x="941" y="3083"/>
                      <a:pt x="1299" y="3084"/>
                    </a:cubicBezTo>
                    <a:cubicBezTo>
                      <a:pt x="1299" y="3084"/>
                      <a:pt x="1299" y="3084"/>
                      <a:pt x="1299" y="3084"/>
                    </a:cubicBezTo>
                    <a:cubicBezTo>
                      <a:pt x="1299" y="3084"/>
                      <a:pt x="1299" y="3084"/>
                      <a:pt x="1299" y="3084"/>
                    </a:cubicBezTo>
                    <a:cubicBezTo>
                      <a:pt x="1300" y="3084"/>
                      <a:pt x="1301" y="3084"/>
                      <a:pt x="1302" y="3084"/>
                    </a:cubicBezTo>
                    <a:cubicBezTo>
                      <a:pt x="1303" y="3084"/>
                      <a:pt x="1304" y="3084"/>
                      <a:pt x="1305" y="3084"/>
                    </a:cubicBezTo>
                    <a:cubicBezTo>
                      <a:pt x="1305" y="3084"/>
                      <a:pt x="1305" y="3084"/>
                      <a:pt x="1305" y="3084"/>
                    </a:cubicBezTo>
                    <a:cubicBezTo>
                      <a:pt x="1305" y="3084"/>
                      <a:pt x="1305" y="3084"/>
                      <a:pt x="1305" y="3084"/>
                    </a:cubicBezTo>
                    <a:cubicBezTo>
                      <a:pt x="1663" y="3083"/>
                      <a:pt x="1987" y="3026"/>
                      <a:pt x="2222" y="2933"/>
                    </a:cubicBezTo>
                    <a:cubicBezTo>
                      <a:pt x="2340" y="2887"/>
                      <a:pt x="2436" y="2831"/>
                      <a:pt x="2502" y="2770"/>
                    </a:cubicBezTo>
                    <a:cubicBezTo>
                      <a:pt x="2535" y="2739"/>
                      <a:pt x="2560" y="2707"/>
                      <a:pt x="2578" y="2673"/>
                    </a:cubicBezTo>
                    <a:cubicBezTo>
                      <a:pt x="2595" y="2640"/>
                      <a:pt x="2604" y="2605"/>
                      <a:pt x="2604" y="2570"/>
                    </a:cubicBezTo>
                    <a:cubicBezTo>
                      <a:pt x="2604" y="514"/>
                      <a:pt x="2604" y="514"/>
                      <a:pt x="2604" y="514"/>
                    </a:cubicBezTo>
                    <a:cubicBezTo>
                      <a:pt x="2604" y="443"/>
                      <a:pt x="2568" y="375"/>
                      <a:pt x="2502" y="314"/>
                    </a:cubicBezTo>
                    <a:close/>
                    <a:moveTo>
                      <a:pt x="1302" y="770"/>
                    </a:moveTo>
                    <a:cubicBezTo>
                      <a:pt x="708" y="769"/>
                      <a:pt x="229" y="631"/>
                      <a:pt x="229" y="462"/>
                    </a:cubicBezTo>
                    <a:cubicBezTo>
                      <a:pt x="229" y="293"/>
                      <a:pt x="708" y="155"/>
                      <a:pt x="1302" y="154"/>
                    </a:cubicBezTo>
                    <a:cubicBezTo>
                      <a:pt x="1896" y="155"/>
                      <a:pt x="2375" y="293"/>
                      <a:pt x="2375" y="462"/>
                    </a:cubicBezTo>
                    <a:cubicBezTo>
                      <a:pt x="2375" y="631"/>
                      <a:pt x="1896" y="769"/>
                      <a:pt x="1302" y="770"/>
                    </a:cubicBezTo>
                    <a:close/>
                  </a:path>
                </a:pathLst>
              </a:custGeom>
              <a:solidFill>
                <a:schemeClr val="bg1"/>
              </a:solidFill>
              <a:ln>
                <a:noFill/>
              </a:ln>
              <a:extLst/>
            </p:spPr>
            <p:txBody>
              <a:bodyPr lIns="89617" tIns="44808" rIns="89617" bIns="44808"/>
              <a:lstStyle/>
              <a:p>
                <a:pPr defTabSz="913330" fontAlgn="base">
                  <a:spcBef>
                    <a:spcPct val="0"/>
                  </a:spcBef>
                  <a:spcAft>
                    <a:spcPct val="0"/>
                  </a:spcAft>
                </a:pPr>
                <a:endParaRPr lang="en-US" sz="1961">
                  <a:solidFill>
                    <a:srgbClr val="000000"/>
                  </a:solidFill>
                  <a:ea typeface="MS PGothic" charset="0"/>
                </a:endParaRPr>
              </a:p>
            </p:txBody>
          </p:sp>
          <p:sp>
            <p:nvSpPr>
              <p:cNvPr id="149" name="icon  BINARY"/>
              <p:cNvSpPr>
                <a:spLocks noEditPoints="1"/>
              </p:cNvSpPr>
              <p:nvPr/>
            </p:nvSpPr>
            <p:spPr bwMode="auto">
              <a:xfrm>
                <a:off x="4698332" y="4352247"/>
                <a:ext cx="400361" cy="328644"/>
              </a:xfrm>
              <a:custGeom>
                <a:avLst/>
                <a:gdLst>
                  <a:gd name="T0" fmla="*/ 2147483647 w 275"/>
                  <a:gd name="T1" fmla="*/ 2147483647 h 226"/>
                  <a:gd name="T2" fmla="*/ 2147483647 w 275"/>
                  <a:gd name="T3" fmla="*/ 0 h 226"/>
                  <a:gd name="T4" fmla="*/ 2147483647 w 275"/>
                  <a:gd name="T5" fmla="*/ 2147483647 h 226"/>
                  <a:gd name="T6" fmla="*/ 2147483647 w 275"/>
                  <a:gd name="T7" fmla="*/ 2147483647 h 226"/>
                  <a:gd name="T8" fmla="*/ 2147483647 w 275"/>
                  <a:gd name="T9" fmla="*/ 2147483647 h 226"/>
                  <a:gd name="T10" fmla="*/ 2147483647 w 275"/>
                  <a:gd name="T11" fmla="*/ 2147483647 h 226"/>
                  <a:gd name="T12" fmla="*/ 2147483647 w 275"/>
                  <a:gd name="T13" fmla="*/ 2147483647 h 226"/>
                  <a:gd name="T14" fmla="*/ 2147483647 w 275"/>
                  <a:gd name="T15" fmla="*/ 2147483647 h 226"/>
                  <a:gd name="T16" fmla="*/ 2147483647 w 275"/>
                  <a:gd name="T17" fmla="*/ 2147483647 h 226"/>
                  <a:gd name="T18" fmla="*/ 2147483647 w 275"/>
                  <a:gd name="T19" fmla="*/ 2147483647 h 226"/>
                  <a:gd name="T20" fmla="*/ 2147483647 w 275"/>
                  <a:gd name="T21" fmla="*/ 2147483647 h 226"/>
                  <a:gd name="T22" fmla="*/ 2147483647 w 275"/>
                  <a:gd name="T23" fmla="*/ 2147483647 h 226"/>
                  <a:gd name="T24" fmla="*/ 2147483647 w 275"/>
                  <a:gd name="T25" fmla="*/ 2147483647 h 226"/>
                  <a:gd name="T26" fmla="*/ 2147483647 w 275"/>
                  <a:gd name="T27" fmla="*/ 2147483647 h 226"/>
                  <a:gd name="T28" fmla="*/ 2147483647 w 275"/>
                  <a:gd name="T29" fmla="*/ 2147483647 h 226"/>
                  <a:gd name="T30" fmla="*/ 2147483647 w 275"/>
                  <a:gd name="T31" fmla="*/ 2147483647 h 226"/>
                  <a:gd name="T32" fmla="*/ 2147483647 w 275"/>
                  <a:gd name="T33" fmla="*/ 2147483647 h 226"/>
                  <a:gd name="T34" fmla="*/ 2147483647 w 275"/>
                  <a:gd name="T35" fmla="*/ 2147483647 h 226"/>
                  <a:gd name="T36" fmla="*/ 2147483647 w 275"/>
                  <a:gd name="T37" fmla="*/ 2147483647 h 226"/>
                  <a:gd name="T38" fmla="*/ 0 w 275"/>
                  <a:gd name="T39" fmla="*/ 2147483647 h 226"/>
                  <a:gd name="T40" fmla="*/ 2147483647 w 275"/>
                  <a:gd name="T41" fmla="*/ 2147483647 h 226"/>
                  <a:gd name="T42" fmla="*/ 2147483647 w 275"/>
                  <a:gd name="T43" fmla="*/ 2147483647 h 226"/>
                  <a:gd name="T44" fmla="*/ 2147483647 w 275"/>
                  <a:gd name="T45" fmla="*/ 2147483647 h 226"/>
                  <a:gd name="T46" fmla="*/ 2147483647 w 275"/>
                  <a:gd name="T47" fmla="*/ 2147483647 h 226"/>
                  <a:gd name="T48" fmla="*/ 2147483647 w 275"/>
                  <a:gd name="T49" fmla="*/ 2147483647 h 226"/>
                  <a:gd name="T50" fmla="*/ 2147483647 w 275"/>
                  <a:gd name="T51" fmla="*/ 2147483647 h 226"/>
                  <a:gd name="T52" fmla="*/ 2147483647 w 275"/>
                  <a:gd name="T53" fmla="*/ 2147483647 h 226"/>
                  <a:gd name="T54" fmla="*/ 2147483647 w 275"/>
                  <a:gd name="T55" fmla="*/ 2147483647 h 226"/>
                  <a:gd name="T56" fmla="*/ 2147483647 w 275"/>
                  <a:gd name="T57" fmla="*/ 2147483647 h 226"/>
                  <a:gd name="T58" fmla="*/ 2147483647 w 275"/>
                  <a:gd name="T59" fmla="*/ 2147483647 h 226"/>
                  <a:gd name="T60" fmla="*/ 2147483647 w 275"/>
                  <a:gd name="T61" fmla="*/ 2147483647 h 226"/>
                  <a:gd name="T62" fmla="*/ 2147483647 w 275"/>
                  <a:gd name="T63" fmla="*/ 2147483647 h 226"/>
                  <a:gd name="T64" fmla="*/ 2147483647 w 275"/>
                  <a:gd name="T65" fmla="*/ 2147483647 h 226"/>
                  <a:gd name="T66" fmla="*/ 2147483647 w 275"/>
                  <a:gd name="T67" fmla="*/ 2147483647 h 226"/>
                  <a:gd name="T68" fmla="*/ 2147483647 w 275"/>
                  <a:gd name="T69" fmla="*/ 2147483647 h 226"/>
                  <a:gd name="T70" fmla="*/ 2147483647 w 275"/>
                  <a:gd name="T71" fmla="*/ 2147483647 h 226"/>
                  <a:gd name="T72" fmla="*/ 2147483647 w 275"/>
                  <a:gd name="T73" fmla="*/ 2147483647 h 226"/>
                  <a:gd name="T74" fmla="*/ 2147483647 w 275"/>
                  <a:gd name="T75" fmla="*/ 2147483647 h 226"/>
                  <a:gd name="T76" fmla="*/ 2147483647 w 275"/>
                  <a:gd name="T77" fmla="*/ 2147483647 h 226"/>
                  <a:gd name="T78" fmla="*/ 2147483647 w 275"/>
                  <a:gd name="T79" fmla="*/ 2147483647 h 226"/>
                  <a:gd name="T80" fmla="*/ 2147483647 w 275"/>
                  <a:gd name="T81" fmla="*/ 2147483647 h 226"/>
                  <a:gd name="T82" fmla="*/ 2147483647 w 275"/>
                  <a:gd name="T83" fmla="*/ 2147483647 h 226"/>
                  <a:gd name="T84" fmla="*/ 2147483647 w 275"/>
                  <a:gd name="T85" fmla="*/ 2147483647 h 226"/>
                  <a:gd name="T86" fmla="*/ 2147483647 w 275"/>
                  <a:gd name="T87" fmla="*/ 2147483647 h 226"/>
                  <a:gd name="T88" fmla="*/ 2147483647 w 275"/>
                  <a:gd name="T89" fmla="*/ 2147483647 h 226"/>
                  <a:gd name="T90" fmla="*/ 2147483647 w 275"/>
                  <a:gd name="T91" fmla="*/ 2147483647 h 226"/>
                  <a:gd name="T92" fmla="*/ 2147483647 w 275"/>
                  <a:gd name="T93" fmla="*/ 2147483647 h 226"/>
                  <a:gd name="T94" fmla="*/ 2147483647 w 275"/>
                  <a:gd name="T95" fmla="*/ 2147483647 h 226"/>
                  <a:gd name="T96" fmla="*/ 2147483647 w 275"/>
                  <a:gd name="T97" fmla="*/ 2147483647 h 226"/>
                  <a:gd name="T98" fmla="*/ 2147483647 w 275"/>
                  <a:gd name="T99" fmla="*/ 2147483647 h 226"/>
                  <a:gd name="T100" fmla="*/ 2147483647 w 275"/>
                  <a:gd name="T101" fmla="*/ 2147483647 h 226"/>
                  <a:gd name="T102" fmla="*/ 2147483647 w 275"/>
                  <a:gd name="T103" fmla="*/ 2147483647 h 226"/>
                  <a:gd name="T104" fmla="*/ 2147483647 w 275"/>
                  <a:gd name="T105" fmla="*/ 2147483647 h 226"/>
                  <a:gd name="T106" fmla="*/ 2147483647 w 275"/>
                  <a:gd name="T107" fmla="*/ 2147483647 h 226"/>
                  <a:gd name="T108" fmla="*/ 2147483647 w 275"/>
                  <a:gd name="T109" fmla="*/ 2147483647 h 226"/>
                  <a:gd name="T110" fmla="*/ 2147483647 w 275"/>
                  <a:gd name="T111" fmla="*/ 2147483647 h 226"/>
                  <a:gd name="T112" fmla="*/ 2147483647 w 275"/>
                  <a:gd name="T113" fmla="*/ 2147483647 h 226"/>
                  <a:gd name="T114" fmla="*/ 2147483647 w 275"/>
                  <a:gd name="T115" fmla="*/ 2147483647 h 2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rgbClr val="1673C3"/>
              </a:solidFill>
              <a:ln>
                <a:noFill/>
              </a:ln>
              <a:extLst/>
            </p:spPr>
            <p:txBody>
              <a:bodyPr/>
              <a:lstStyle/>
              <a:p>
                <a:pPr defTabSz="913330" fontAlgn="base">
                  <a:spcBef>
                    <a:spcPct val="0"/>
                  </a:spcBef>
                  <a:spcAft>
                    <a:spcPct val="0"/>
                  </a:spcAft>
                </a:pPr>
                <a:endParaRPr lang="en-US" sz="1961">
                  <a:solidFill>
                    <a:srgbClr val="0072C6"/>
                  </a:solidFill>
                  <a:ea typeface="MS PGothic" charset="0"/>
                </a:endParaRPr>
              </a:p>
            </p:txBody>
          </p:sp>
        </p:grpSp>
        <p:sp>
          <p:nvSpPr>
            <p:cNvPr id="141" name="Freeform 48"/>
            <p:cNvSpPr>
              <a:spLocks/>
            </p:cNvSpPr>
            <p:nvPr/>
          </p:nvSpPr>
          <p:spPr bwMode="black">
            <a:xfrm>
              <a:off x="3408442" y="3287132"/>
              <a:ext cx="530677" cy="45317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a:solidFill>
                  <a:srgbClr val="000000"/>
                </a:solidFill>
                <a:ea typeface="MS PGothic" charset="0"/>
              </a:endParaRPr>
            </a:p>
          </p:txBody>
        </p:sp>
        <p:sp>
          <p:nvSpPr>
            <p:cNvPr id="142" name="Rectangle 141"/>
            <p:cNvSpPr/>
            <p:nvPr/>
          </p:nvSpPr>
          <p:spPr>
            <a:xfrm>
              <a:off x="1714880" y="2813121"/>
              <a:ext cx="1148819" cy="489497"/>
            </a:xfrm>
            <a:prstGeom prst="rect">
              <a:avLst/>
            </a:prstGeom>
          </p:spPr>
          <p:txBody>
            <a:bodyPr wrap="square">
              <a:spAutoFit/>
            </a:bodyPr>
            <a:lstStyle/>
            <a:p>
              <a:pPr defTabSz="913330" fontAlgn="base">
                <a:lnSpc>
                  <a:spcPct val="90000"/>
                </a:lnSpc>
                <a:spcBef>
                  <a:spcPct val="0"/>
                </a:spcBef>
                <a:defRPr/>
              </a:pPr>
              <a:r>
                <a:rPr lang="en-US" sz="1371" dirty="0">
                  <a:solidFill>
                    <a:srgbClr val="FFFFFF"/>
                  </a:solidFill>
                  <a:ea typeface="MS PGothic" panose="020B0600070205080204" pitchFamily="34" charset="-128"/>
                </a:rPr>
                <a:t>Transform</a:t>
              </a:r>
            </a:p>
            <a:p>
              <a:pPr defTabSz="913330" fontAlgn="base">
                <a:lnSpc>
                  <a:spcPct val="90000"/>
                </a:lnSpc>
                <a:spcBef>
                  <a:spcPct val="0"/>
                </a:spcBef>
                <a:defRPr/>
              </a:pPr>
              <a:r>
                <a:rPr lang="en-US" sz="1371" dirty="0">
                  <a:solidFill>
                    <a:srgbClr val="FFFFFF"/>
                  </a:solidFill>
                  <a:ea typeface="MS PGothic" panose="020B0600070205080204" pitchFamily="34" charset="-128"/>
                </a:rPr>
                <a:t>+ analyze</a:t>
              </a:r>
            </a:p>
          </p:txBody>
        </p:sp>
        <p:sp>
          <p:nvSpPr>
            <p:cNvPr id="143" name="Rectangle 142"/>
            <p:cNvSpPr/>
            <p:nvPr/>
          </p:nvSpPr>
          <p:spPr>
            <a:xfrm>
              <a:off x="3156863" y="3871806"/>
              <a:ext cx="1148819" cy="489497"/>
            </a:xfrm>
            <a:prstGeom prst="rect">
              <a:avLst/>
            </a:prstGeom>
          </p:spPr>
          <p:txBody>
            <a:bodyPr wrap="square">
              <a:spAutoFit/>
            </a:bodyPr>
            <a:lstStyle/>
            <a:p>
              <a:pPr algn="r" defTabSz="913330" fontAlgn="base">
                <a:lnSpc>
                  <a:spcPct val="90000"/>
                </a:lnSpc>
                <a:spcBef>
                  <a:spcPct val="0"/>
                </a:spcBef>
                <a:defRPr/>
              </a:pPr>
              <a:r>
                <a:rPr lang="en-US" sz="1371" dirty="0">
                  <a:solidFill>
                    <a:srgbClr val="FFFFFF"/>
                  </a:solidFill>
                  <a:ea typeface="MS PGothic" panose="020B0600070205080204" pitchFamily="34" charset="-128"/>
                </a:rPr>
                <a:t>Visualize</a:t>
              </a:r>
            </a:p>
            <a:p>
              <a:pPr algn="r" defTabSz="913330" fontAlgn="base">
                <a:lnSpc>
                  <a:spcPct val="90000"/>
                </a:lnSpc>
                <a:spcBef>
                  <a:spcPct val="0"/>
                </a:spcBef>
                <a:defRPr/>
              </a:pPr>
              <a:r>
                <a:rPr lang="en-US" sz="1371" dirty="0">
                  <a:solidFill>
                    <a:srgbClr val="FFFFFF"/>
                  </a:solidFill>
                  <a:ea typeface="MS PGothic" panose="020B0600070205080204" pitchFamily="34" charset="-128"/>
                </a:rPr>
                <a:t>+ decide</a:t>
              </a:r>
            </a:p>
          </p:txBody>
        </p:sp>
        <p:sp>
          <p:nvSpPr>
            <p:cNvPr id="144" name="Rectangle 143"/>
            <p:cNvSpPr/>
            <p:nvPr/>
          </p:nvSpPr>
          <p:spPr>
            <a:xfrm>
              <a:off x="2598756" y="5077202"/>
              <a:ext cx="1148819" cy="489497"/>
            </a:xfrm>
            <a:prstGeom prst="rect">
              <a:avLst/>
            </a:prstGeom>
          </p:spPr>
          <p:txBody>
            <a:bodyPr wrap="square">
              <a:spAutoFit/>
            </a:bodyPr>
            <a:lstStyle/>
            <a:p>
              <a:pPr defTabSz="913330" fontAlgn="base">
                <a:lnSpc>
                  <a:spcPct val="90000"/>
                </a:lnSpc>
                <a:spcBef>
                  <a:spcPct val="0"/>
                </a:spcBef>
                <a:defRPr/>
              </a:pPr>
              <a:r>
                <a:rPr lang="en-US" sz="1371" dirty="0">
                  <a:solidFill>
                    <a:srgbClr val="FFFFFF"/>
                  </a:solidFill>
                  <a:ea typeface="MS PGothic" panose="020B0600070205080204" pitchFamily="34" charset="-128"/>
                </a:rPr>
                <a:t>Capture</a:t>
              </a:r>
              <a:br>
                <a:rPr lang="en-US" sz="1371" dirty="0">
                  <a:solidFill>
                    <a:srgbClr val="FFFFFF"/>
                  </a:solidFill>
                  <a:ea typeface="MS PGothic" panose="020B0600070205080204" pitchFamily="34" charset="-128"/>
                </a:rPr>
              </a:br>
              <a:r>
                <a:rPr lang="en-US" sz="1371" dirty="0">
                  <a:solidFill>
                    <a:srgbClr val="FFFFFF"/>
                  </a:solidFill>
                  <a:ea typeface="MS PGothic" panose="020B0600070205080204" pitchFamily="34" charset="-128"/>
                </a:rPr>
                <a:t>+ manage</a:t>
              </a:r>
            </a:p>
          </p:txBody>
        </p:sp>
        <p:grpSp>
          <p:nvGrpSpPr>
            <p:cNvPr id="145" name="Group 144"/>
            <p:cNvGrpSpPr/>
            <p:nvPr/>
          </p:nvGrpSpPr>
          <p:grpSpPr>
            <a:xfrm>
              <a:off x="2054911" y="3502593"/>
              <a:ext cx="1238035" cy="1398173"/>
              <a:chOff x="5005641" y="3539385"/>
              <a:chExt cx="1221568" cy="1379577"/>
            </a:xfrm>
          </p:grpSpPr>
          <p:sp>
            <p:nvSpPr>
              <p:cNvPr id="146" name="Isosceles Triangle 60"/>
              <p:cNvSpPr/>
              <p:nvPr/>
            </p:nvSpPr>
            <p:spPr bwMode="auto">
              <a:xfrm rot="16200000">
                <a:off x="4926636" y="3618390"/>
                <a:ext cx="1379577" cy="1221568"/>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765" b="1" dirty="0">
                  <a:solidFill>
                    <a:srgbClr val="FFFFFF"/>
                  </a:solidFill>
                  <a:latin typeface="Segoe UI Light"/>
                  <a:ea typeface="Segoe UI" pitchFamily="34" charset="0"/>
                  <a:cs typeface="Segoe UI" pitchFamily="34" charset="0"/>
                </a:endParaRPr>
              </a:p>
            </p:txBody>
          </p:sp>
          <p:sp>
            <p:nvSpPr>
              <p:cNvPr id="147" name="TextBox 146"/>
              <p:cNvSpPr txBox="1"/>
              <p:nvPr/>
            </p:nvSpPr>
            <p:spPr>
              <a:xfrm>
                <a:off x="5179557" y="4089377"/>
                <a:ext cx="867328" cy="319067"/>
              </a:xfrm>
              <a:prstGeom prst="rect">
                <a:avLst/>
              </a:prstGeom>
              <a:noFill/>
            </p:spPr>
            <p:txBody>
              <a:bodyPr lIns="179259" tIns="143407" rIns="179259" bIns="143407" anchor="ctr"/>
              <a:lstStyle/>
              <a:p>
                <a:pPr algn="ctr" defTabSz="913330" fontAlgn="base">
                  <a:lnSpc>
                    <a:spcPct val="90000"/>
                  </a:lnSpc>
                  <a:spcBef>
                    <a:spcPct val="0"/>
                  </a:spcBef>
                  <a:defRPr/>
                </a:pPr>
                <a:r>
                  <a:rPr lang="en-US" sz="1961" dirty="0">
                    <a:solidFill>
                      <a:srgbClr val="1673C3"/>
                    </a:solidFill>
                    <a:latin typeface="Segoe UI Light"/>
                    <a:ea typeface="MS PGothic" panose="020B0600070205080204" pitchFamily="34" charset="-128"/>
                  </a:rPr>
                  <a:t>Data</a:t>
                </a:r>
              </a:p>
            </p:txBody>
          </p:sp>
        </p:grpSp>
      </p:grpSp>
      <p:grpSp>
        <p:nvGrpSpPr>
          <p:cNvPr id="90" name="Group 89"/>
          <p:cNvGrpSpPr/>
          <p:nvPr/>
        </p:nvGrpSpPr>
        <p:grpSpPr>
          <a:xfrm>
            <a:off x="5040750" y="1481687"/>
            <a:ext cx="6880875" cy="4863565"/>
            <a:chOff x="5040711" y="1729062"/>
            <a:chExt cx="6907267" cy="4859328"/>
          </a:xfrm>
        </p:grpSpPr>
        <p:grpSp>
          <p:nvGrpSpPr>
            <p:cNvPr id="91" name="Group 90"/>
            <p:cNvGrpSpPr/>
            <p:nvPr/>
          </p:nvGrpSpPr>
          <p:grpSpPr>
            <a:xfrm>
              <a:off x="5040711" y="1729062"/>
              <a:ext cx="6907267" cy="1577772"/>
              <a:chOff x="5034361" y="1481412"/>
              <a:chExt cx="6907267" cy="1577772"/>
            </a:xfrm>
          </p:grpSpPr>
          <p:sp>
            <p:nvSpPr>
              <p:cNvPr id="201" name="Rectangle 200">
                <a:hlinkClick r:id="" action="ppaction://noaction"/>
              </p:cNvPr>
              <p:cNvSpPr/>
              <p:nvPr/>
            </p:nvSpPr>
            <p:spPr bwMode="auto">
              <a:xfrm>
                <a:off x="5034736" y="148141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89630" tIns="44814" rIns="89630" bIns="0" numCol="1" spcCol="0" rtlCol="0" fromWordArt="0" anchor="ctr" anchorCtr="0" forceAA="0" compatLnSpc="1">
                <a:prstTxWarp prst="textNoShape">
                  <a:avLst/>
                </a:prstTxWarp>
                <a:noAutofit/>
              </a:bodyPr>
              <a:lstStyle/>
              <a:p>
                <a:pPr defTabSz="746179">
                  <a:lnSpc>
                    <a:spcPct val="90000"/>
                  </a:lnSpc>
                  <a:defRPr/>
                </a:pPr>
                <a:r>
                  <a:rPr lang="en-US" kern="0" dirty="0">
                    <a:ln>
                      <a:solidFill>
                        <a:srgbClr val="FFFFFF">
                          <a:alpha val="0"/>
                        </a:srgbClr>
                      </a:solidFill>
                    </a:ln>
                    <a:gradFill>
                      <a:gsLst>
                        <a:gs pos="55000">
                          <a:srgbClr val="505050">
                            <a:lumMod val="75000"/>
                          </a:srgbClr>
                        </a:gs>
                        <a:gs pos="0">
                          <a:srgbClr val="505050">
                            <a:lumMod val="75000"/>
                          </a:srgbClr>
                        </a:gs>
                      </a:gsLst>
                      <a:lin ang="5400000" scaled="0"/>
                    </a:gradFill>
                    <a:latin typeface="Segoe UI Semibold" panose="020B0702040204020203" pitchFamily="34" charset="0"/>
                    <a:ea typeface="MS PGothic" charset="0"/>
                    <a:cs typeface="Segoe UI Semibold" panose="020B0702040204020203" pitchFamily="34" charset="0"/>
                  </a:rPr>
                  <a:t>Visualize + decide</a:t>
                </a:r>
              </a:p>
            </p:txBody>
          </p:sp>
          <p:grpSp>
            <p:nvGrpSpPr>
              <p:cNvPr id="202" name="Group 201"/>
              <p:cNvGrpSpPr/>
              <p:nvPr/>
            </p:nvGrpSpPr>
            <p:grpSpPr>
              <a:xfrm>
                <a:off x="10592951" y="1999318"/>
                <a:ext cx="1348677" cy="1059866"/>
                <a:chOff x="10584232" y="1992876"/>
                <a:chExt cx="1348677" cy="1059866"/>
              </a:xfrm>
            </p:grpSpPr>
            <p:sp>
              <p:nvSpPr>
                <p:cNvPr id="215" name="Rectangle 214"/>
                <p:cNvSpPr/>
                <p:nvPr/>
              </p:nvSpPr>
              <p:spPr bwMode="auto">
                <a:xfrm>
                  <a:off x="10584232" y="1992876"/>
                  <a:ext cx="1348677" cy="1059866"/>
                </a:xfrm>
                <a:prstGeom prst="rect">
                  <a:avLst/>
                </a:prstGeom>
                <a:solidFill>
                  <a:schemeClr val="accent5"/>
                </a:solidFill>
                <a:ln w="10795" cap="flat" cmpd="sng" algn="ctr">
                  <a:noFill/>
                  <a:prstDash val="solid"/>
                </a:ln>
                <a:effectLst/>
              </p:spPr>
              <p:txBody>
                <a:bodyPr lIns="89630" tIns="44814" rIns="89630" bIns="44814" anchor="b"/>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Mobile</a:t>
                  </a:r>
                </a:p>
              </p:txBody>
            </p:sp>
            <p:grpSp>
              <p:nvGrpSpPr>
                <p:cNvPr id="216" name="Group 215"/>
                <p:cNvGrpSpPr/>
                <p:nvPr/>
              </p:nvGrpSpPr>
              <p:grpSpPr>
                <a:xfrm>
                  <a:off x="10718307" y="2056788"/>
                  <a:ext cx="375429" cy="437853"/>
                  <a:chOff x="10280016" y="4544833"/>
                  <a:chExt cx="728879" cy="719102"/>
                </a:xfrm>
              </p:grpSpPr>
              <p:grpSp>
                <p:nvGrpSpPr>
                  <p:cNvPr id="217" name="Group 216"/>
                  <p:cNvGrpSpPr/>
                  <p:nvPr/>
                </p:nvGrpSpPr>
                <p:grpSpPr bwMode="black">
                  <a:xfrm>
                    <a:off x="10280016" y="4544833"/>
                    <a:ext cx="728879" cy="719102"/>
                    <a:chOff x="2916435" y="3914152"/>
                    <a:chExt cx="930763" cy="918513"/>
                  </a:xfrm>
                </p:grpSpPr>
                <p:pic>
                  <p:nvPicPr>
                    <p:cNvPr id="219" name="Picture 2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22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7821" tIns="43909" rIns="87821" bIns="43909" numCol="1" anchor="t" anchorCtr="0" compatLnSpc="1">
                      <a:prstTxWarp prst="textNoShape">
                        <a:avLst/>
                      </a:prstTxWarp>
                    </a:bodyPr>
                    <a:lstStyle/>
                    <a:p>
                      <a:pPr defTabSz="895656">
                        <a:defRPr/>
                      </a:pPr>
                      <a:endParaRPr lang="en-US" sz="800" kern="0" dirty="0">
                        <a:solidFill>
                          <a:srgbClr val="FFFFFF"/>
                        </a:solidFill>
                        <a:ea typeface="MS PGothic" charset="0"/>
                      </a:endParaRPr>
                    </a:p>
                  </p:txBody>
                </p:sp>
              </p:grpSp>
              <p:sp>
                <p:nvSpPr>
                  <p:cNvPr id="218" name="Freeform 217"/>
                  <p:cNvSpPr/>
                  <p:nvPr>
                    <p:custDataLst>
                      <p:tags r:id="rId2"/>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5503">
                      <a:defRPr/>
                    </a:pPr>
                    <a:endParaRPr lang="en-US" sz="1600" kern="0">
                      <a:solidFill>
                        <a:sysClr val="window" lastClr="FFFFFF"/>
                      </a:solidFill>
                      <a:latin typeface="Arial"/>
                      <a:ea typeface="MS PGothic" charset="0"/>
                    </a:endParaRPr>
                  </a:p>
                </p:txBody>
              </p:sp>
            </p:grpSp>
          </p:grpSp>
          <p:grpSp>
            <p:nvGrpSpPr>
              <p:cNvPr id="203" name="Group 202"/>
              <p:cNvGrpSpPr/>
              <p:nvPr/>
            </p:nvGrpSpPr>
            <p:grpSpPr>
              <a:xfrm>
                <a:off x="6425524" y="1999318"/>
                <a:ext cx="1348677" cy="1059866"/>
                <a:chOff x="6427937" y="1992876"/>
                <a:chExt cx="1348677" cy="1059866"/>
              </a:xfrm>
            </p:grpSpPr>
            <p:sp>
              <p:nvSpPr>
                <p:cNvPr id="213" name="Rectangle 212"/>
                <p:cNvSpPr/>
                <p:nvPr/>
              </p:nvSpPr>
              <p:spPr bwMode="auto">
                <a:xfrm>
                  <a:off x="6427937" y="1992876"/>
                  <a:ext cx="1348677" cy="1059866"/>
                </a:xfrm>
                <a:prstGeom prst="rect">
                  <a:avLst/>
                </a:prstGeom>
                <a:solidFill>
                  <a:schemeClr val="accent5"/>
                </a:solidFill>
                <a:ln w="10795" cap="flat" cmpd="sng" algn="ctr">
                  <a:noFill/>
                  <a:prstDash val="solid"/>
                </a:ln>
                <a:effectLst/>
              </p:spPr>
              <p:txBody>
                <a:bodyPr lIns="89630" tIns="44814" rIns="89630" bIns="44814" anchor="b"/>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Reports</a:t>
                  </a:r>
                </a:p>
              </p:txBody>
            </p:sp>
            <p:sp>
              <p:nvSpPr>
                <p:cNvPr id="214" name="Freeform 30"/>
                <p:cNvSpPr>
                  <a:spLocks noEditPoints="1"/>
                </p:cNvSpPr>
                <p:nvPr/>
              </p:nvSpPr>
              <p:spPr bwMode="auto">
                <a:xfrm>
                  <a:off x="6520022" y="2056787"/>
                  <a:ext cx="313742" cy="39921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7833" tIns="43915" rIns="87833" bIns="43915" numCol="1" anchor="t" anchorCtr="0" compatLnSpc="1">
                  <a:prstTxWarp prst="textNoShape">
                    <a:avLst/>
                  </a:prstTxWarp>
                </a:bodyPr>
                <a:lstStyle/>
                <a:p>
                  <a:pPr defTabSz="878004">
                    <a:defRPr/>
                  </a:pPr>
                  <a:endParaRPr lang="en-US" sz="1600" kern="0">
                    <a:solidFill>
                      <a:srgbClr val="000000"/>
                    </a:solidFill>
                    <a:ea typeface="MS PGothic" charset="0"/>
                  </a:endParaRPr>
                </a:p>
              </p:txBody>
            </p:sp>
          </p:grpSp>
          <p:grpSp>
            <p:nvGrpSpPr>
              <p:cNvPr id="204" name="Group 203"/>
              <p:cNvGrpSpPr/>
              <p:nvPr/>
            </p:nvGrpSpPr>
            <p:grpSpPr>
              <a:xfrm>
                <a:off x="9197996" y="1999318"/>
                <a:ext cx="1348677" cy="1059866"/>
                <a:chOff x="9197240" y="1992876"/>
                <a:chExt cx="1348677" cy="1059866"/>
              </a:xfrm>
            </p:grpSpPr>
            <p:sp>
              <p:nvSpPr>
                <p:cNvPr id="211" name="Rectangle 210"/>
                <p:cNvSpPr/>
                <p:nvPr/>
              </p:nvSpPr>
              <p:spPr bwMode="auto">
                <a:xfrm>
                  <a:off x="9197240" y="1992876"/>
                  <a:ext cx="1348677" cy="1059866"/>
                </a:xfrm>
                <a:prstGeom prst="rect">
                  <a:avLst/>
                </a:prstGeom>
                <a:solidFill>
                  <a:schemeClr val="accent5"/>
                </a:solidFill>
                <a:ln w="10795" cap="flat" cmpd="sng" algn="ctr">
                  <a:noFill/>
                  <a:prstDash val="solid"/>
                </a:ln>
                <a:effectLst/>
              </p:spPr>
              <p:txBody>
                <a:bodyPr lIns="89630" tIns="44814" rIns="89630" bIns="44814" anchor="b"/>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Natural Language</a:t>
                  </a:r>
                </a:p>
              </p:txBody>
            </p:sp>
            <p:sp>
              <p:nvSpPr>
                <p:cNvPr id="212" name="Freeform 8"/>
                <p:cNvSpPr>
                  <a:spLocks noEditPoints="1"/>
                </p:cNvSpPr>
                <p:nvPr/>
              </p:nvSpPr>
              <p:spPr bwMode="black">
                <a:xfrm rot="5400000">
                  <a:off x="9311221" y="2062342"/>
                  <a:ext cx="416705" cy="4055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79069" tIns="39535" rIns="79069" bIns="39535" numCol="1" anchor="t" anchorCtr="0" compatLnSpc="1">
                  <a:prstTxWarp prst="textNoShape">
                    <a:avLst/>
                  </a:prstTxWarp>
                </a:bodyPr>
                <a:lstStyle/>
                <a:p>
                  <a:pPr defTabSz="895999">
                    <a:defRPr/>
                  </a:pPr>
                  <a:endParaRPr lang="en-US" sz="1400" kern="0">
                    <a:solidFill>
                      <a:prstClr val="black"/>
                    </a:solidFill>
                    <a:ea typeface="MS PGothic" charset="0"/>
                    <a:cs typeface="Segoe UI" panose="020B0502040204020203" pitchFamily="34" charset="0"/>
                  </a:endParaRPr>
                </a:p>
              </p:txBody>
            </p:sp>
          </p:grpSp>
          <p:grpSp>
            <p:nvGrpSpPr>
              <p:cNvPr id="205" name="Group 204"/>
              <p:cNvGrpSpPr/>
              <p:nvPr/>
            </p:nvGrpSpPr>
            <p:grpSpPr>
              <a:xfrm>
                <a:off x="7811760" y="1999318"/>
                <a:ext cx="1348677" cy="1059866"/>
                <a:chOff x="7814931" y="1992876"/>
                <a:chExt cx="1348677" cy="1059866"/>
              </a:xfrm>
            </p:grpSpPr>
            <p:sp>
              <p:nvSpPr>
                <p:cNvPr id="209" name="Rectangle 208"/>
                <p:cNvSpPr/>
                <p:nvPr/>
              </p:nvSpPr>
              <p:spPr bwMode="auto">
                <a:xfrm>
                  <a:off x="7814931" y="1992876"/>
                  <a:ext cx="1348677" cy="1059866"/>
                </a:xfrm>
                <a:prstGeom prst="rect">
                  <a:avLst/>
                </a:prstGeom>
                <a:solidFill>
                  <a:schemeClr val="accent5"/>
                </a:solidFill>
                <a:ln w="10795" cap="flat" cmpd="sng" algn="ctr">
                  <a:noFill/>
                  <a:prstDash val="solid"/>
                </a:ln>
                <a:effectLst/>
              </p:spPr>
              <p:txBody>
                <a:bodyPr lIns="89630" tIns="44814" rIns="89630" bIns="44814" anchor="b"/>
                <a:lstStyle/>
                <a:p>
                  <a:pPr defTabSz="914139">
                    <a:lnSpc>
                      <a:spcPct val="90000"/>
                    </a:lnSpc>
                    <a:defRPr/>
                  </a:pPr>
                  <a:r>
                    <a:rPr lang="en-US" sz="1200" kern="0">
                      <a:gradFill>
                        <a:gsLst>
                          <a:gs pos="11024">
                            <a:srgbClr val="FFFFFF"/>
                          </a:gs>
                          <a:gs pos="23000">
                            <a:srgbClr val="FFFFFF"/>
                          </a:gs>
                        </a:gsLst>
                        <a:lin ang="5400000" scaled="1"/>
                      </a:gradFill>
                      <a:ea typeface="MS PGothic" charset="0"/>
                    </a:rPr>
                    <a:t>Dashboards</a:t>
                  </a:r>
                  <a:endParaRPr lang="en-US" sz="1200" kern="0" dirty="0">
                    <a:gradFill>
                      <a:gsLst>
                        <a:gs pos="11024">
                          <a:srgbClr val="FFFFFF"/>
                        </a:gs>
                        <a:gs pos="23000">
                          <a:srgbClr val="FFFFFF"/>
                        </a:gs>
                      </a:gsLst>
                      <a:lin ang="5400000" scaled="1"/>
                    </a:gradFill>
                    <a:ea typeface="MS PGothic" charset="0"/>
                  </a:endParaRPr>
                </a:p>
              </p:txBody>
            </p:sp>
            <p:sp>
              <p:nvSpPr>
                <p:cNvPr id="210" name="Freeform 209"/>
                <p:cNvSpPr/>
                <p:nvPr>
                  <p:custDataLst>
                    <p:tags r:id="rId1"/>
                  </p:custDataLst>
                </p:nvPr>
              </p:nvSpPr>
              <p:spPr>
                <a:xfrm>
                  <a:off x="7930536" y="2056788"/>
                  <a:ext cx="405945" cy="35646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5775">
                    <a:defRPr/>
                  </a:pPr>
                  <a:endParaRPr lang="en-US" sz="1600" kern="0">
                    <a:solidFill>
                      <a:sysClr val="window" lastClr="FFFFFF"/>
                    </a:solidFill>
                    <a:latin typeface="Arial"/>
                    <a:ea typeface="MS PGothic" charset="0"/>
                  </a:endParaRPr>
                </a:p>
              </p:txBody>
            </p:sp>
          </p:grpSp>
          <p:grpSp>
            <p:nvGrpSpPr>
              <p:cNvPr id="206" name="Group 205"/>
              <p:cNvGrpSpPr/>
              <p:nvPr/>
            </p:nvGrpSpPr>
            <p:grpSpPr>
              <a:xfrm>
                <a:off x="5034361" y="1999319"/>
                <a:ext cx="1348677" cy="1059865"/>
                <a:chOff x="5039288" y="1999319"/>
                <a:chExt cx="1348677" cy="1059865"/>
              </a:xfrm>
            </p:grpSpPr>
            <p:sp>
              <p:nvSpPr>
                <p:cNvPr id="207" name="Rectangle 206"/>
                <p:cNvSpPr/>
                <p:nvPr/>
              </p:nvSpPr>
              <p:spPr bwMode="auto">
                <a:xfrm>
                  <a:off x="5039288" y="1999319"/>
                  <a:ext cx="1348677" cy="1059865"/>
                </a:xfrm>
                <a:prstGeom prst="rect">
                  <a:avLst/>
                </a:prstGeom>
                <a:solidFill>
                  <a:schemeClr val="accent5"/>
                </a:solidFill>
                <a:ln w="10795" cap="flat" cmpd="sng" algn="ctr">
                  <a:noFill/>
                  <a:prstDash val="solid"/>
                </a:ln>
                <a:effectLst/>
              </p:spPr>
              <p:txBody>
                <a:bodyPr lIns="89630" tIns="44814" rIns="89630" bIns="44814" anchor="b"/>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Applications</a:t>
                  </a:r>
                </a:p>
              </p:txBody>
            </p:sp>
            <p:sp>
              <p:nvSpPr>
                <p:cNvPr id="208" name="Freeform 5"/>
                <p:cNvSpPr>
                  <a:spLocks noEditPoints="1"/>
                </p:cNvSpPr>
                <p:nvPr/>
              </p:nvSpPr>
              <p:spPr bwMode="auto">
                <a:xfrm>
                  <a:off x="5155365" y="2056788"/>
                  <a:ext cx="258941" cy="395099"/>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87845" tIns="43923" rIns="87845" bIns="43923" numCol="1" anchor="t" anchorCtr="0" compatLnSpc="1">
                  <a:prstTxWarp prst="textNoShape">
                    <a:avLst/>
                  </a:prstTxWarp>
                </a:bodyPr>
                <a:lstStyle/>
                <a:p>
                  <a:pPr defTabSz="895999">
                    <a:defRPr/>
                  </a:pPr>
                  <a:endParaRPr lang="en-US" sz="1600" kern="0">
                    <a:solidFill>
                      <a:srgbClr val="505050"/>
                    </a:solidFill>
                    <a:ea typeface="MS PGothic" charset="0"/>
                  </a:endParaRPr>
                </a:p>
              </p:txBody>
            </p:sp>
          </p:grpSp>
        </p:grpSp>
        <p:grpSp>
          <p:nvGrpSpPr>
            <p:cNvPr id="93" name="Group 92"/>
            <p:cNvGrpSpPr/>
            <p:nvPr/>
          </p:nvGrpSpPr>
          <p:grpSpPr>
            <a:xfrm>
              <a:off x="5040711" y="3371202"/>
              <a:ext cx="6907267" cy="1575051"/>
              <a:chOff x="5040711" y="3371202"/>
              <a:chExt cx="6907267" cy="1575051"/>
            </a:xfrm>
          </p:grpSpPr>
          <p:sp>
            <p:nvSpPr>
              <p:cNvPr id="176" name="Rectangle 175"/>
              <p:cNvSpPr/>
              <p:nvPr/>
            </p:nvSpPr>
            <p:spPr bwMode="auto">
              <a:xfrm>
                <a:off x="7820642" y="3886386"/>
                <a:ext cx="1346145" cy="1059865"/>
              </a:xfrm>
              <a:prstGeom prst="rect">
                <a:avLst/>
              </a:prstGeom>
              <a:solidFill>
                <a:schemeClr val="accent4"/>
              </a:solidFill>
              <a:ln>
                <a:noFill/>
              </a:ln>
            </p:spPr>
            <p:txBody>
              <a:bodyPr rot="0" spcFirstLastPara="0" vertOverflow="overflow" horzOverflow="overflow" vert="horz" wrap="square" lIns="87845" tIns="43923" rIns="87845" bIns="43923" numCol="1" spcCol="0" rtlCol="0" fromWordArt="0" anchor="b" anchorCtr="0" forceAA="0" compatLnSpc="1">
                <a:prstTxWarp prst="textNoShape">
                  <a:avLst/>
                </a:prstTxWarp>
                <a:noAutofit/>
              </a:bodyPr>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Complex Event Processing</a:t>
                </a:r>
              </a:p>
            </p:txBody>
          </p:sp>
          <p:grpSp>
            <p:nvGrpSpPr>
              <p:cNvPr id="177" name="Group 176"/>
              <p:cNvGrpSpPr/>
              <p:nvPr/>
            </p:nvGrpSpPr>
            <p:grpSpPr>
              <a:xfrm>
                <a:off x="5040711" y="3371202"/>
                <a:ext cx="6907267" cy="1575051"/>
                <a:chOff x="5040711" y="3371202"/>
                <a:chExt cx="6907267" cy="1575051"/>
              </a:xfrm>
            </p:grpSpPr>
            <p:grpSp>
              <p:nvGrpSpPr>
                <p:cNvPr id="178" name="Group 177"/>
                <p:cNvGrpSpPr/>
                <p:nvPr/>
              </p:nvGrpSpPr>
              <p:grpSpPr>
                <a:xfrm>
                  <a:off x="5040711" y="3371202"/>
                  <a:ext cx="6907267" cy="1575051"/>
                  <a:chOff x="5034361" y="3123552"/>
                  <a:chExt cx="6907267" cy="1575051"/>
                </a:xfrm>
              </p:grpSpPr>
              <p:sp>
                <p:nvSpPr>
                  <p:cNvPr id="180" name="Rectangle 179">
                    <a:hlinkClick r:id="" action="ppaction://noaction"/>
                  </p:cNvPr>
                  <p:cNvSpPr/>
                  <p:nvPr/>
                </p:nvSpPr>
                <p:spPr bwMode="auto">
                  <a:xfrm>
                    <a:off x="5034736" y="312355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89630" tIns="44814" rIns="89630" bIns="0" numCol="1" spcCol="0" rtlCol="0" fromWordArt="0" anchor="ctr" anchorCtr="0" forceAA="0" compatLnSpc="1">
                    <a:prstTxWarp prst="textNoShape">
                      <a:avLst/>
                    </a:prstTxWarp>
                    <a:noAutofit/>
                  </a:bodyPr>
                  <a:lstStyle/>
                  <a:p>
                    <a:pPr defTabSz="746179">
                      <a:lnSpc>
                        <a:spcPct val="90000"/>
                      </a:lnSpc>
                      <a:defRPr/>
                    </a:pPr>
                    <a:r>
                      <a:rPr lang="en-US" kern="0" dirty="0">
                        <a:ln>
                          <a:solidFill>
                            <a:srgbClr val="FFFFFF">
                              <a:alpha val="0"/>
                            </a:srgbClr>
                          </a:solidFill>
                        </a:ln>
                        <a:gradFill>
                          <a:gsLst>
                            <a:gs pos="55000">
                              <a:srgbClr val="505050">
                                <a:lumMod val="75000"/>
                              </a:srgbClr>
                            </a:gs>
                            <a:gs pos="0">
                              <a:srgbClr val="505050">
                                <a:lumMod val="75000"/>
                              </a:srgbClr>
                            </a:gs>
                          </a:gsLst>
                          <a:lin ang="5400000" scaled="0"/>
                        </a:gradFill>
                        <a:latin typeface="Segoe UI Semibold" panose="020B0702040204020203" pitchFamily="34" charset="0"/>
                        <a:ea typeface="MS PGothic" charset="0"/>
                        <a:cs typeface="Segoe UI Semibold" panose="020B0702040204020203" pitchFamily="34" charset="0"/>
                      </a:rPr>
                      <a:t>Transform + analyze</a:t>
                    </a:r>
                  </a:p>
                </p:txBody>
              </p:sp>
              <p:grpSp>
                <p:nvGrpSpPr>
                  <p:cNvPr id="181" name="Group 180"/>
                  <p:cNvGrpSpPr/>
                  <p:nvPr/>
                </p:nvGrpSpPr>
                <p:grpSpPr>
                  <a:xfrm>
                    <a:off x="5034361" y="3638737"/>
                    <a:ext cx="1348677" cy="1059866"/>
                    <a:chOff x="5034361" y="3658276"/>
                    <a:chExt cx="1348677" cy="1059866"/>
                  </a:xfrm>
                </p:grpSpPr>
                <p:sp>
                  <p:nvSpPr>
                    <p:cNvPr id="196" name="Rectangle 195"/>
                    <p:cNvSpPr/>
                    <p:nvPr/>
                  </p:nvSpPr>
                  <p:spPr bwMode="auto">
                    <a:xfrm>
                      <a:off x="5034361" y="3658276"/>
                      <a:ext cx="1348677" cy="1059866"/>
                    </a:xfrm>
                    <a:prstGeom prst="rect">
                      <a:avLst/>
                    </a:prstGeom>
                    <a:solidFill>
                      <a:schemeClr val="accent4"/>
                    </a:solidFill>
                    <a:ln>
                      <a:noFill/>
                    </a:ln>
                  </p:spPr>
                  <p:txBody>
                    <a:bodyPr rot="0" spcFirstLastPara="0" vertOverflow="overflow" horzOverflow="overflow" vert="horz" wrap="square" lIns="87845" tIns="43923" rIns="87845" bIns="43923" numCol="1" spcCol="0" rtlCol="0" fromWordArt="0" anchor="b" anchorCtr="0" forceAA="0" compatLnSpc="1">
                      <a:prstTxWarp prst="textNoShape">
                        <a:avLst/>
                      </a:prstTxWarp>
                      <a:noAutofit/>
                    </a:bodyPr>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Orchestration</a:t>
                      </a:r>
                    </a:p>
                  </p:txBody>
                </p:sp>
                <p:grpSp>
                  <p:nvGrpSpPr>
                    <p:cNvPr id="197" name="Group 196"/>
                    <p:cNvGrpSpPr/>
                    <p:nvPr/>
                  </p:nvGrpSpPr>
                  <p:grpSpPr>
                    <a:xfrm>
                      <a:off x="5101653" y="3755670"/>
                      <a:ext cx="567413" cy="356382"/>
                      <a:chOff x="3806692" y="2708346"/>
                      <a:chExt cx="531683" cy="333940"/>
                    </a:xfrm>
                  </p:grpSpPr>
                  <p:sp>
                    <p:nvSpPr>
                      <p:cNvPr id="198"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3" tIns="43915" rIns="87833" bIns="43915" numCol="1" anchor="t" anchorCtr="0" compatLnSpc="1">
                        <a:prstTxWarp prst="textNoShape">
                          <a:avLst/>
                        </a:prstTxWarp>
                      </a:bodyPr>
                      <a:lstStyle/>
                      <a:p>
                        <a:pPr defTabSz="878004">
                          <a:defRPr/>
                        </a:pPr>
                        <a:endParaRPr lang="en-US" sz="1600" kern="0">
                          <a:solidFill>
                            <a:srgbClr val="000000"/>
                          </a:solidFill>
                          <a:ea typeface="MS PGothic" charset="0"/>
                        </a:endParaRPr>
                      </a:p>
                    </p:txBody>
                  </p:sp>
                  <p:sp>
                    <p:nvSpPr>
                      <p:cNvPr id="199"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3" tIns="43915" rIns="87833" bIns="43915" numCol="1" anchor="t" anchorCtr="0" compatLnSpc="1">
                        <a:prstTxWarp prst="textNoShape">
                          <a:avLst/>
                        </a:prstTxWarp>
                      </a:bodyPr>
                      <a:lstStyle/>
                      <a:p>
                        <a:pPr defTabSz="878004">
                          <a:defRPr/>
                        </a:pPr>
                        <a:endParaRPr lang="en-US" sz="1600" kern="0">
                          <a:solidFill>
                            <a:srgbClr val="000000"/>
                          </a:solidFill>
                          <a:ea typeface="MS PGothic" charset="0"/>
                        </a:endParaRPr>
                      </a:p>
                    </p:txBody>
                  </p:sp>
                  <p:sp>
                    <p:nvSpPr>
                      <p:cNvPr id="200"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3" tIns="43915" rIns="87833" bIns="43915" numCol="1" anchor="t" anchorCtr="0" compatLnSpc="1">
                        <a:prstTxWarp prst="textNoShape">
                          <a:avLst/>
                        </a:prstTxWarp>
                      </a:bodyPr>
                      <a:lstStyle/>
                      <a:p>
                        <a:pPr defTabSz="878004">
                          <a:defRPr/>
                        </a:pPr>
                        <a:endParaRPr lang="en-US" sz="1600" kern="0">
                          <a:solidFill>
                            <a:srgbClr val="000000"/>
                          </a:solidFill>
                          <a:ea typeface="MS PGothic" charset="0"/>
                        </a:endParaRPr>
                      </a:p>
                    </p:txBody>
                  </p:sp>
                </p:grpSp>
              </p:grpSp>
              <p:grpSp>
                <p:nvGrpSpPr>
                  <p:cNvPr id="182" name="Group 181"/>
                  <p:cNvGrpSpPr/>
                  <p:nvPr/>
                </p:nvGrpSpPr>
                <p:grpSpPr>
                  <a:xfrm>
                    <a:off x="10592951" y="3638737"/>
                    <a:ext cx="1348677" cy="1059866"/>
                    <a:chOff x="10588808" y="3658276"/>
                    <a:chExt cx="1348677" cy="1059866"/>
                  </a:xfrm>
                </p:grpSpPr>
                <p:sp>
                  <p:nvSpPr>
                    <p:cNvPr id="192" name="Rectangle 191"/>
                    <p:cNvSpPr/>
                    <p:nvPr/>
                  </p:nvSpPr>
                  <p:spPr bwMode="auto">
                    <a:xfrm>
                      <a:off x="10588808" y="3658276"/>
                      <a:ext cx="1348677" cy="1059866"/>
                    </a:xfrm>
                    <a:prstGeom prst="rect">
                      <a:avLst/>
                    </a:prstGeom>
                    <a:solidFill>
                      <a:schemeClr val="accent4"/>
                    </a:solidFill>
                    <a:ln>
                      <a:noFill/>
                    </a:ln>
                  </p:spPr>
                  <p:txBody>
                    <a:bodyPr rot="0" spcFirstLastPara="0" vertOverflow="overflow" horzOverflow="overflow" vert="horz" wrap="square" lIns="87845" tIns="43923" rIns="87845" bIns="43923" numCol="1" spcCol="0" rtlCol="0" fromWordArt="0" anchor="b" anchorCtr="0" forceAA="0" compatLnSpc="1">
                      <a:prstTxWarp prst="textNoShape">
                        <a:avLst/>
                      </a:prstTxWarp>
                      <a:noAutofit/>
                    </a:bodyPr>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Prediction</a:t>
                      </a:r>
                    </a:p>
                  </p:txBody>
                </p:sp>
                <p:grpSp>
                  <p:nvGrpSpPr>
                    <p:cNvPr id="193" name="Group 192"/>
                    <p:cNvGrpSpPr/>
                    <p:nvPr/>
                  </p:nvGrpSpPr>
                  <p:grpSpPr>
                    <a:xfrm>
                      <a:off x="10764074" y="3723087"/>
                      <a:ext cx="246751" cy="421548"/>
                      <a:chOff x="10638708" y="2707362"/>
                      <a:chExt cx="251764" cy="430113"/>
                    </a:xfrm>
                  </p:grpSpPr>
                  <p:sp>
                    <p:nvSpPr>
                      <p:cNvPr id="194" name="Freeform 193"/>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3" tIns="43915" rIns="87833" bIns="43915"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48447">
                          <a:defRPr/>
                        </a:pPr>
                        <a:endParaRPr lang="en-US" sz="600" b="1" kern="0" cap="all" dirty="0">
                          <a:solidFill>
                            <a:srgbClr val="000000"/>
                          </a:solidFill>
                        </a:endParaRPr>
                      </a:p>
                    </p:txBody>
                  </p:sp>
                  <p:sp>
                    <p:nvSpPr>
                      <p:cNvPr id="195" name="Freeform 194"/>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3" tIns="43915" rIns="87833" bIns="43915"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48447">
                          <a:defRPr/>
                        </a:pPr>
                        <a:endParaRPr lang="en-US" sz="600" b="1" kern="0" cap="all" dirty="0">
                          <a:solidFill>
                            <a:srgbClr val="000000"/>
                          </a:solidFill>
                        </a:endParaRPr>
                      </a:p>
                    </p:txBody>
                  </p:sp>
                </p:grpSp>
              </p:grpSp>
              <p:grpSp>
                <p:nvGrpSpPr>
                  <p:cNvPr id="183" name="Group 182"/>
                  <p:cNvGrpSpPr/>
                  <p:nvPr/>
                </p:nvGrpSpPr>
                <p:grpSpPr>
                  <a:xfrm>
                    <a:off x="9197995" y="3638737"/>
                    <a:ext cx="1346145" cy="1059865"/>
                    <a:chOff x="9202506" y="3659720"/>
                    <a:chExt cx="1346145" cy="1059865"/>
                  </a:xfrm>
                </p:grpSpPr>
                <p:sp>
                  <p:nvSpPr>
                    <p:cNvPr id="187" name="Rectangle 186"/>
                    <p:cNvSpPr/>
                    <p:nvPr/>
                  </p:nvSpPr>
                  <p:spPr bwMode="auto">
                    <a:xfrm>
                      <a:off x="9202506" y="3659720"/>
                      <a:ext cx="1346145" cy="1059865"/>
                    </a:xfrm>
                    <a:prstGeom prst="rect">
                      <a:avLst/>
                    </a:prstGeom>
                    <a:solidFill>
                      <a:schemeClr val="accent4"/>
                    </a:solidFill>
                    <a:ln>
                      <a:noFill/>
                    </a:ln>
                  </p:spPr>
                  <p:txBody>
                    <a:bodyPr rot="0" spcFirstLastPara="0" vertOverflow="overflow" horzOverflow="overflow" vert="horz" wrap="square" lIns="87845" tIns="43923" rIns="87845" bIns="43923" numCol="1" spcCol="0" rtlCol="0" fromWordArt="0" anchor="b" anchorCtr="0" forceAA="0" compatLnSpc="1">
                      <a:prstTxWarp prst="textNoShape">
                        <a:avLst/>
                      </a:prstTxWarp>
                      <a:noAutofit/>
                    </a:bodyPr>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Query</a:t>
                      </a:r>
                    </a:p>
                  </p:txBody>
                </p:sp>
                <p:grpSp>
                  <p:nvGrpSpPr>
                    <p:cNvPr id="188" name="Group 187"/>
                    <p:cNvGrpSpPr/>
                    <p:nvPr/>
                  </p:nvGrpSpPr>
                  <p:grpSpPr>
                    <a:xfrm>
                      <a:off x="9321062" y="3770949"/>
                      <a:ext cx="302650" cy="351287"/>
                      <a:chOff x="9397262" y="3770949"/>
                      <a:chExt cx="302650" cy="351287"/>
                    </a:xfrm>
                  </p:grpSpPr>
                  <p:sp>
                    <p:nvSpPr>
                      <p:cNvPr id="189" name="Freeform 67"/>
                      <p:cNvSpPr>
                        <a:spLocks/>
                      </p:cNvSpPr>
                      <p:nvPr/>
                    </p:nvSpPr>
                    <p:spPr bwMode="auto">
                      <a:xfrm>
                        <a:off x="9397262"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7855" tIns="43927" rIns="87855" bIns="43927" numCol="1" anchor="t" anchorCtr="0" compatLnSpc="1">
                        <a:prstTxWarp prst="textNoShape">
                          <a:avLst/>
                        </a:prstTxWarp>
                      </a:bodyPr>
                      <a:lstStyle/>
                      <a:p>
                        <a:pPr defTabSz="895958">
                          <a:defRPr/>
                        </a:pPr>
                        <a:endParaRPr lang="en-US" sz="1100" kern="0">
                          <a:solidFill>
                            <a:srgbClr val="000000"/>
                          </a:solidFill>
                          <a:ea typeface="MS PGothic" charset="0"/>
                        </a:endParaRPr>
                      </a:p>
                    </p:txBody>
                  </p:sp>
                  <p:sp>
                    <p:nvSpPr>
                      <p:cNvPr id="190" name="Freeform 68"/>
                      <p:cNvSpPr>
                        <a:spLocks/>
                      </p:cNvSpPr>
                      <p:nvPr/>
                    </p:nvSpPr>
                    <p:spPr bwMode="auto">
                      <a:xfrm>
                        <a:off x="9553814"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7855" tIns="43927" rIns="87855" bIns="43927" numCol="1" anchor="t" anchorCtr="0" compatLnSpc="1">
                        <a:prstTxWarp prst="textNoShape">
                          <a:avLst/>
                        </a:prstTxWarp>
                      </a:bodyPr>
                      <a:lstStyle/>
                      <a:p>
                        <a:pPr defTabSz="895958">
                          <a:defRPr/>
                        </a:pPr>
                        <a:endParaRPr lang="en-US" sz="1100" kern="0">
                          <a:solidFill>
                            <a:srgbClr val="000000"/>
                          </a:solidFill>
                          <a:ea typeface="MS PGothic" charset="0"/>
                        </a:endParaRPr>
                      </a:p>
                    </p:txBody>
                  </p:sp>
                  <p:sp>
                    <p:nvSpPr>
                      <p:cNvPr id="191" name="Freeform 69"/>
                      <p:cNvSpPr>
                        <a:spLocks/>
                      </p:cNvSpPr>
                      <p:nvPr/>
                    </p:nvSpPr>
                    <p:spPr bwMode="auto">
                      <a:xfrm>
                        <a:off x="9397262"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7855" tIns="43927" rIns="87855" bIns="43927" numCol="1" anchor="t" anchorCtr="0" compatLnSpc="1">
                        <a:prstTxWarp prst="textNoShape">
                          <a:avLst/>
                        </a:prstTxWarp>
                      </a:bodyPr>
                      <a:lstStyle/>
                      <a:p>
                        <a:pPr defTabSz="895958">
                          <a:defRPr/>
                        </a:pPr>
                        <a:endParaRPr lang="en-US" sz="1100" kern="0">
                          <a:solidFill>
                            <a:srgbClr val="000000"/>
                          </a:solidFill>
                          <a:ea typeface="MS PGothic" charset="0"/>
                        </a:endParaRPr>
                      </a:p>
                    </p:txBody>
                  </p:sp>
                </p:grpSp>
              </p:grpSp>
              <p:grpSp>
                <p:nvGrpSpPr>
                  <p:cNvPr id="184" name="Group 183"/>
                  <p:cNvGrpSpPr/>
                  <p:nvPr/>
                </p:nvGrpSpPr>
                <p:grpSpPr>
                  <a:xfrm>
                    <a:off x="6427733" y="3638736"/>
                    <a:ext cx="1346468" cy="1059866"/>
                    <a:chOff x="6427366" y="3658275"/>
                    <a:chExt cx="1346468" cy="1059866"/>
                  </a:xfrm>
                </p:grpSpPr>
                <p:sp>
                  <p:nvSpPr>
                    <p:cNvPr id="185" name="Rectangle 184"/>
                    <p:cNvSpPr/>
                    <p:nvPr/>
                  </p:nvSpPr>
                  <p:spPr bwMode="auto">
                    <a:xfrm>
                      <a:off x="6427366" y="3658275"/>
                      <a:ext cx="1346468" cy="1059866"/>
                    </a:xfrm>
                    <a:prstGeom prst="rect">
                      <a:avLst/>
                    </a:prstGeom>
                    <a:solidFill>
                      <a:schemeClr val="accent4"/>
                    </a:solidFill>
                    <a:ln>
                      <a:noFill/>
                    </a:ln>
                  </p:spPr>
                  <p:txBody>
                    <a:bodyPr rot="0" spcFirstLastPara="0" vertOverflow="overflow" horzOverflow="overflow" vert="horz" wrap="square" lIns="87845" tIns="43923" rIns="87845" bIns="43923" numCol="1" spcCol="0" rtlCol="0" fromWordArt="0" anchor="b" anchorCtr="0" forceAA="0" compatLnSpc="1">
                      <a:prstTxWarp prst="textNoShape">
                        <a:avLst/>
                      </a:prstTxWarp>
                      <a:noAutofit/>
                    </a:bodyPr>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Information management</a:t>
                      </a:r>
                    </a:p>
                  </p:txBody>
                </p:sp>
                <p:sp>
                  <p:nvSpPr>
                    <p:cNvPr id="186" name="Freeform 25"/>
                    <p:cNvSpPr>
                      <a:spLocks noEditPoints="1"/>
                    </p:cNvSpPr>
                    <p:nvPr/>
                  </p:nvSpPr>
                  <p:spPr bwMode="black">
                    <a:xfrm>
                      <a:off x="6531024" y="3728213"/>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75" tIns="40338" rIns="80675" bIns="40338" numCol="1" anchor="t" anchorCtr="0" compatLnSpc="1">
                      <a:prstTxWarp prst="textNoShape">
                        <a:avLst/>
                      </a:prstTxWarp>
                    </a:bodyPr>
                    <a:lstStyle/>
                    <a:p>
                      <a:pPr defTabSz="896214">
                        <a:defRPr/>
                      </a:pPr>
                      <a:endParaRPr lang="en-US" sz="1400" kern="0">
                        <a:solidFill>
                          <a:srgbClr val="000000"/>
                        </a:solidFill>
                        <a:ea typeface="MS PGothic" charset="0"/>
                      </a:endParaRPr>
                    </a:p>
                  </p:txBody>
                </p:sp>
              </p:grpSp>
            </p:grpSp>
            <p:sp>
              <p:nvSpPr>
                <p:cNvPr id="179" name="Freeform 178"/>
                <p:cNvSpPr>
                  <a:spLocks noEditPoints="1"/>
                </p:cNvSpPr>
                <p:nvPr/>
              </p:nvSpPr>
              <p:spPr bwMode="auto">
                <a:xfrm>
                  <a:off x="7915913" y="3990722"/>
                  <a:ext cx="474313" cy="343048"/>
                </a:xfrm>
                <a:custGeom>
                  <a:avLst/>
                  <a:gdLst>
                    <a:gd name="T0" fmla="*/ 50 w 476"/>
                    <a:gd name="T1" fmla="*/ 137 h 344"/>
                    <a:gd name="T2" fmla="*/ 74 w 476"/>
                    <a:gd name="T3" fmla="*/ 122 h 344"/>
                    <a:gd name="T4" fmla="*/ 149 w 476"/>
                    <a:gd name="T5" fmla="*/ 120 h 344"/>
                    <a:gd name="T6" fmla="*/ 346 w 476"/>
                    <a:gd name="T7" fmla="*/ 132 h 344"/>
                    <a:gd name="T8" fmla="*/ 322 w 476"/>
                    <a:gd name="T9" fmla="*/ 147 h 344"/>
                    <a:gd name="T10" fmla="*/ 168 w 476"/>
                    <a:gd name="T11" fmla="*/ 141 h 344"/>
                    <a:gd name="T12" fmla="*/ 195 w 476"/>
                    <a:gd name="T13" fmla="*/ 182 h 344"/>
                    <a:gd name="T14" fmla="*/ 299 w 476"/>
                    <a:gd name="T15" fmla="*/ 188 h 344"/>
                    <a:gd name="T16" fmla="*/ 320 w 476"/>
                    <a:gd name="T17" fmla="*/ 169 h 344"/>
                    <a:gd name="T18" fmla="*/ 177 w 476"/>
                    <a:gd name="T19" fmla="*/ 160 h 344"/>
                    <a:gd name="T20" fmla="*/ 52 w 476"/>
                    <a:gd name="T21" fmla="*/ 163 h 344"/>
                    <a:gd name="T22" fmla="*/ 29 w 476"/>
                    <a:gd name="T23" fmla="*/ 177 h 344"/>
                    <a:gd name="T24" fmla="*/ 195 w 476"/>
                    <a:gd name="T25" fmla="*/ 182 h 344"/>
                    <a:gd name="T26" fmla="*/ 238 w 476"/>
                    <a:gd name="T27" fmla="*/ 207 h 344"/>
                    <a:gd name="T28" fmla="*/ 294 w 476"/>
                    <a:gd name="T29" fmla="*/ 227 h 344"/>
                    <a:gd name="T30" fmla="*/ 238 w 476"/>
                    <a:gd name="T31" fmla="*/ 179 h 344"/>
                    <a:gd name="T32" fmla="*/ 116 w 476"/>
                    <a:gd name="T33" fmla="*/ 241 h 344"/>
                    <a:gd name="T34" fmla="*/ 9 w 476"/>
                    <a:gd name="T35" fmla="*/ 193 h 344"/>
                    <a:gd name="T36" fmla="*/ 116 w 476"/>
                    <a:gd name="T37" fmla="*/ 269 h 344"/>
                    <a:gd name="T38" fmla="*/ 473 w 476"/>
                    <a:gd name="T39" fmla="*/ 135 h 344"/>
                    <a:gd name="T40" fmla="*/ 443 w 476"/>
                    <a:gd name="T41" fmla="*/ 121 h 344"/>
                    <a:gd name="T42" fmla="*/ 435 w 476"/>
                    <a:gd name="T43" fmla="*/ 95 h 344"/>
                    <a:gd name="T44" fmla="*/ 447 w 476"/>
                    <a:gd name="T45" fmla="*/ 62 h 344"/>
                    <a:gd name="T46" fmla="*/ 404 w 476"/>
                    <a:gd name="T47" fmla="*/ 24 h 344"/>
                    <a:gd name="T48" fmla="*/ 370 w 476"/>
                    <a:gd name="T49" fmla="*/ 37 h 344"/>
                    <a:gd name="T50" fmla="*/ 348 w 476"/>
                    <a:gd name="T51" fmla="*/ 26 h 344"/>
                    <a:gd name="T52" fmla="*/ 334 w 476"/>
                    <a:gd name="T53" fmla="*/ 3 h 344"/>
                    <a:gd name="T54" fmla="*/ 276 w 476"/>
                    <a:gd name="T55" fmla="*/ 3 h 344"/>
                    <a:gd name="T56" fmla="*/ 263 w 476"/>
                    <a:gd name="T57" fmla="*/ 31 h 344"/>
                    <a:gd name="T58" fmla="*/ 237 w 476"/>
                    <a:gd name="T59" fmla="*/ 38 h 344"/>
                    <a:gd name="T60" fmla="*/ 204 w 476"/>
                    <a:gd name="T61" fmla="*/ 25 h 344"/>
                    <a:gd name="T62" fmla="*/ 166 w 476"/>
                    <a:gd name="T63" fmla="*/ 68 h 344"/>
                    <a:gd name="T64" fmla="*/ 238 w 476"/>
                    <a:gd name="T65" fmla="*/ 66 h 344"/>
                    <a:gd name="T66" fmla="*/ 378 w 476"/>
                    <a:gd name="T67" fmla="*/ 171 h 344"/>
                    <a:gd name="T68" fmla="*/ 291 w 476"/>
                    <a:gd name="T69" fmla="*/ 240 h 344"/>
                    <a:gd name="T70" fmla="*/ 265 w 476"/>
                    <a:gd name="T71" fmla="*/ 229 h 344"/>
                    <a:gd name="T72" fmla="*/ 261 w 476"/>
                    <a:gd name="T73" fmla="*/ 225 h 344"/>
                    <a:gd name="T74" fmla="*/ 215 w 476"/>
                    <a:gd name="T75" fmla="*/ 236 h 344"/>
                    <a:gd name="T76" fmla="*/ 204 w 476"/>
                    <a:gd name="T77" fmla="*/ 305 h 344"/>
                    <a:gd name="T78" fmla="*/ 235 w 476"/>
                    <a:gd name="T79" fmla="*/ 293 h 344"/>
                    <a:gd name="T80" fmla="*/ 263 w 476"/>
                    <a:gd name="T81" fmla="*/ 302 h 344"/>
                    <a:gd name="T82" fmla="*/ 276 w 476"/>
                    <a:gd name="T83" fmla="*/ 337 h 344"/>
                    <a:gd name="T84" fmla="*/ 334 w 476"/>
                    <a:gd name="T85" fmla="*/ 344 h 344"/>
                    <a:gd name="T86" fmla="*/ 348 w 476"/>
                    <a:gd name="T87" fmla="*/ 309 h 344"/>
                    <a:gd name="T88" fmla="*/ 373 w 476"/>
                    <a:gd name="T89" fmla="*/ 294 h 344"/>
                    <a:gd name="T90" fmla="*/ 404 w 476"/>
                    <a:gd name="T91" fmla="*/ 305 h 344"/>
                    <a:gd name="T92" fmla="*/ 447 w 476"/>
                    <a:gd name="T93" fmla="*/ 267 h 344"/>
                    <a:gd name="T94" fmla="*/ 435 w 476"/>
                    <a:gd name="T95" fmla="*/ 236 h 344"/>
                    <a:gd name="T96" fmla="*/ 444 w 476"/>
                    <a:gd name="T97" fmla="*/ 210 h 344"/>
                    <a:gd name="T98" fmla="*/ 473 w 476"/>
                    <a:gd name="T99" fmla="*/ 197 h 344"/>
                    <a:gd name="T100" fmla="*/ 476 w 476"/>
                    <a:gd name="T101" fmla="*/ 1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6" h="344">
                      <a:moveTo>
                        <a:pt x="116" y="169"/>
                      </a:moveTo>
                      <a:cubicBezTo>
                        <a:pt x="72" y="169"/>
                        <a:pt x="51" y="138"/>
                        <a:pt x="50" y="137"/>
                      </a:cubicBezTo>
                      <a:cubicBezTo>
                        <a:pt x="46" y="131"/>
                        <a:pt x="48" y="122"/>
                        <a:pt x="54" y="118"/>
                      </a:cubicBezTo>
                      <a:cubicBezTo>
                        <a:pt x="61" y="113"/>
                        <a:pt x="69" y="115"/>
                        <a:pt x="74" y="122"/>
                      </a:cubicBezTo>
                      <a:cubicBezTo>
                        <a:pt x="74" y="123"/>
                        <a:pt x="87" y="141"/>
                        <a:pt x="116" y="141"/>
                      </a:cubicBezTo>
                      <a:cubicBezTo>
                        <a:pt x="126" y="141"/>
                        <a:pt x="136" y="132"/>
                        <a:pt x="149" y="120"/>
                      </a:cubicBezTo>
                      <a:cubicBezTo>
                        <a:pt x="169" y="101"/>
                        <a:pt x="195" y="78"/>
                        <a:pt x="238" y="78"/>
                      </a:cubicBezTo>
                      <a:cubicBezTo>
                        <a:pt x="312" y="78"/>
                        <a:pt x="344" y="130"/>
                        <a:pt x="346" y="132"/>
                      </a:cubicBezTo>
                      <a:cubicBezTo>
                        <a:pt x="350" y="139"/>
                        <a:pt x="348" y="147"/>
                        <a:pt x="341" y="151"/>
                      </a:cubicBezTo>
                      <a:cubicBezTo>
                        <a:pt x="334" y="155"/>
                        <a:pt x="326" y="153"/>
                        <a:pt x="322" y="147"/>
                      </a:cubicBezTo>
                      <a:cubicBezTo>
                        <a:pt x="321" y="145"/>
                        <a:pt x="296" y="106"/>
                        <a:pt x="238" y="106"/>
                      </a:cubicBezTo>
                      <a:cubicBezTo>
                        <a:pt x="206" y="106"/>
                        <a:pt x="186" y="124"/>
                        <a:pt x="168" y="141"/>
                      </a:cubicBezTo>
                      <a:cubicBezTo>
                        <a:pt x="153" y="155"/>
                        <a:pt x="137" y="169"/>
                        <a:pt x="116" y="169"/>
                      </a:cubicBezTo>
                      <a:close/>
                      <a:moveTo>
                        <a:pt x="195" y="182"/>
                      </a:moveTo>
                      <a:cubicBezTo>
                        <a:pt x="211" y="169"/>
                        <a:pt x="224" y="158"/>
                        <a:pt x="238" y="158"/>
                      </a:cubicBezTo>
                      <a:cubicBezTo>
                        <a:pt x="272" y="158"/>
                        <a:pt x="299" y="187"/>
                        <a:pt x="299" y="188"/>
                      </a:cubicBezTo>
                      <a:cubicBezTo>
                        <a:pt x="304" y="193"/>
                        <a:pt x="313" y="194"/>
                        <a:pt x="319" y="189"/>
                      </a:cubicBezTo>
                      <a:cubicBezTo>
                        <a:pt x="324" y="184"/>
                        <a:pt x="325" y="175"/>
                        <a:pt x="320" y="169"/>
                      </a:cubicBezTo>
                      <a:cubicBezTo>
                        <a:pt x="319" y="168"/>
                        <a:pt x="285" y="130"/>
                        <a:pt x="238" y="130"/>
                      </a:cubicBezTo>
                      <a:cubicBezTo>
                        <a:pt x="214" y="130"/>
                        <a:pt x="195" y="145"/>
                        <a:pt x="177" y="160"/>
                      </a:cubicBezTo>
                      <a:cubicBezTo>
                        <a:pt x="158" y="176"/>
                        <a:pt x="140" y="191"/>
                        <a:pt x="116" y="191"/>
                      </a:cubicBezTo>
                      <a:cubicBezTo>
                        <a:pt x="71" y="191"/>
                        <a:pt x="53" y="164"/>
                        <a:pt x="52" y="163"/>
                      </a:cubicBezTo>
                      <a:cubicBezTo>
                        <a:pt x="48" y="156"/>
                        <a:pt x="40" y="154"/>
                        <a:pt x="33" y="158"/>
                      </a:cubicBezTo>
                      <a:cubicBezTo>
                        <a:pt x="27" y="162"/>
                        <a:pt x="25" y="171"/>
                        <a:pt x="29" y="177"/>
                      </a:cubicBezTo>
                      <a:cubicBezTo>
                        <a:pt x="30" y="179"/>
                        <a:pt x="54" y="219"/>
                        <a:pt x="116" y="219"/>
                      </a:cubicBezTo>
                      <a:cubicBezTo>
                        <a:pt x="150" y="219"/>
                        <a:pt x="174" y="199"/>
                        <a:pt x="195" y="182"/>
                      </a:cubicBezTo>
                      <a:close/>
                      <a:moveTo>
                        <a:pt x="207" y="227"/>
                      </a:moveTo>
                      <a:cubicBezTo>
                        <a:pt x="219" y="216"/>
                        <a:pt x="229" y="207"/>
                        <a:pt x="238" y="207"/>
                      </a:cubicBezTo>
                      <a:cubicBezTo>
                        <a:pt x="265" y="207"/>
                        <a:pt x="274" y="222"/>
                        <a:pt x="275" y="222"/>
                      </a:cubicBezTo>
                      <a:cubicBezTo>
                        <a:pt x="279" y="229"/>
                        <a:pt x="287" y="231"/>
                        <a:pt x="294" y="227"/>
                      </a:cubicBezTo>
                      <a:cubicBezTo>
                        <a:pt x="301" y="223"/>
                        <a:pt x="303" y="214"/>
                        <a:pt x="299" y="208"/>
                      </a:cubicBezTo>
                      <a:cubicBezTo>
                        <a:pt x="298" y="206"/>
                        <a:pt x="281" y="179"/>
                        <a:pt x="238" y="179"/>
                      </a:cubicBezTo>
                      <a:cubicBezTo>
                        <a:pt x="218" y="179"/>
                        <a:pt x="204" y="192"/>
                        <a:pt x="188" y="206"/>
                      </a:cubicBezTo>
                      <a:cubicBezTo>
                        <a:pt x="170" y="223"/>
                        <a:pt x="150" y="241"/>
                        <a:pt x="116" y="241"/>
                      </a:cubicBezTo>
                      <a:cubicBezTo>
                        <a:pt x="57" y="241"/>
                        <a:pt x="29" y="199"/>
                        <a:pt x="28" y="197"/>
                      </a:cubicBezTo>
                      <a:cubicBezTo>
                        <a:pt x="24" y="191"/>
                        <a:pt x="15" y="189"/>
                        <a:pt x="9" y="193"/>
                      </a:cubicBezTo>
                      <a:cubicBezTo>
                        <a:pt x="2" y="197"/>
                        <a:pt x="0" y="206"/>
                        <a:pt x="4" y="212"/>
                      </a:cubicBezTo>
                      <a:cubicBezTo>
                        <a:pt x="6" y="214"/>
                        <a:pt x="40" y="269"/>
                        <a:pt x="116" y="269"/>
                      </a:cubicBezTo>
                      <a:cubicBezTo>
                        <a:pt x="161" y="269"/>
                        <a:pt x="188" y="245"/>
                        <a:pt x="207" y="227"/>
                      </a:cubicBezTo>
                      <a:close/>
                      <a:moveTo>
                        <a:pt x="473" y="135"/>
                      </a:moveTo>
                      <a:cubicBezTo>
                        <a:pt x="447" y="125"/>
                        <a:pt x="447" y="125"/>
                        <a:pt x="447" y="125"/>
                      </a:cubicBezTo>
                      <a:cubicBezTo>
                        <a:pt x="446" y="125"/>
                        <a:pt x="444" y="123"/>
                        <a:pt x="443" y="121"/>
                      </a:cubicBezTo>
                      <a:cubicBezTo>
                        <a:pt x="435" y="101"/>
                        <a:pt x="435" y="101"/>
                        <a:pt x="435" y="101"/>
                      </a:cubicBezTo>
                      <a:cubicBezTo>
                        <a:pt x="434" y="99"/>
                        <a:pt x="434" y="97"/>
                        <a:pt x="435" y="95"/>
                      </a:cubicBezTo>
                      <a:cubicBezTo>
                        <a:pt x="448" y="68"/>
                        <a:pt x="448" y="68"/>
                        <a:pt x="448" y="68"/>
                      </a:cubicBezTo>
                      <a:cubicBezTo>
                        <a:pt x="449" y="66"/>
                        <a:pt x="449" y="64"/>
                        <a:pt x="447" y="62"/>
                      </a:cubicBezTo>
                      <a:cubicBezTo>
                        <a:pt x="409" y="25"/>
                        <a:pt x="409" y="25"/>
                        <a:pt x="409" y="25"/>
                      </a:cubicBezTo>
                      <a:cubicBezTo>
                        <a:pt x="408" y="23"/>
                        <a:pt x="406" y="23"/>
                        <a:pt x="404" y="24"/>
                      </a:cubicBezTo>
                      <a:cubicBezTo>
                        <a:pt x="377" y="37"/>
                        <a:pt x="377" y="37"/>
                        <a:pt x="377" y="37"/>
                      </a:cubicBezTo>
                      <a:cubicBezTo>
                        <a:pt x="375" y="38"/>
                        <a:pt x="372" y="38"/>
                        <a:pt x="370" y="37"/>
                      </a:cubicBezTo>
                      <a:cubicBezTo>
                        <a:pt x="352" y="30"/>
                        <a:pt x="352" y="30"/>
                        <a:pt x="352" y="30"/>
                      </a:cubicBezTo>
                      <a:cubicBezTo>
                        <a:pt x="350" y="29"/>
                        <a:pt x="349" y="27"/>
                        <a:pt x="348" y="26"/>
                      </a:cubicBezTo>
                      <a:cubicBezTo>
                        <a:pt x="338" y="3"/>
                        <a:pt x="338" y="3"/>
                        <a:pt x="338" y="3"/>
                      </a:cubicBezTo>
                      <a:cubicBezTo>
                        <a:pt x="338" y="0"/>
                        <a:pt x="335" y="3"/>
                        <a:pt x="334" y="3"/>
                      </a:cubicBezTo>
                      <a:cubicBezTo>
                        <a:pt x="281" y="3"/>
                        <a:pt x="281" y="3"/>
                        <a:pt x="281" y="3"/>
                      </a:cubicBezTo>
                      <a:cubicBezTo>
                        <a:pt x="279" y="3"/>
                        <a:pt x="277" y="0"/>
                        <a:pt x="276" y="3"/>
                      </a:cubicBezTo>
                      <a:cubicBezTo>
                        <a:pt x="267" y="27"/>
                        <a:pt x="267" y="27"/>
                        <a:pt x="267" y="27"/>
                      </a:cubicBezTo>
                      <a:cubicBezTo>
                        <a:pt x="267" y="29"/>
                        <a:pt x="264" y="30"/>
                        <a:pt x="263" y="31"/>
                      </a:cubicBezTo>
                      <a:cubicBezTo>
                        <a:pt x="244" y="38"/>
                        <a:pt x="244" y="38"/>
                        <a:pt x="244" y="38"/>
                      </a:cubicBezTo>
                      <a:cubicBezTo>
                        <a:pt x="242" y="39"/>
                        <a:pt x="239" y="38"/>
                        <a:pt x="237" y="38"/>
                      </a:cubicBezTo>
                      <a:cubicBezTo>
                        <a:pt x="210" y="24"/>
                        <a:pt x="210" y="24"/>
                        <a:pt x="210" y="24"/>
                      </a:cubicBezTo>
                      <a:cubicBezTo>
                        <a:pt x="208" y="23"/>
                        <a:pt x="205" y="24"/>
                        <a:pt x="204" y="25"/>
                      </a:cubicBezTo>
                      <a:cubicBezTo>
                        <a:pt x="166" y="62"/>
                        <a:pt x="166" y="62"/>
                        <a:pt x="166" y="62"/>
                      </a:cubicBezTo>
                      <a:cubicBezTo>
                        <a:pt x="165" y="64"/>
                        <a:pt x="164" y="66"/>
                        <a:pt x="166" y="68"/>
                      </a:cubicBezTo>
                      <a:cubicBezTo>
                        <a:pt x="169" y="75"/>
                        <a:pt x="172" y="81"/>
                        <a:pt x="174" y="85"/>
                      </a:cubicBezTo>
                      <a:cubicBezTo>
                        <a:pt x="190" y="75"/>
                        <a:pt x="211" y="66"/>
                        <a:pt x="238" y="66"/>
                      </a:cubicBezTo>
                      <a:cubicBezTo>
                        <a:pt x="294" y="66"/>
                        <a:pt x="329" y="94"/>
                        <a:pt x="345" y="112"/>
                      </a:cubicBezTo>
                      <a:cubicBezTo>
                        <a:pt x="365" y="124"/>
                        <a:pt x="378" y="146"/>
                        <a:pt x="378" y="171"/>
                      </a:cubicBezTo>
                      <a:cubicBezTo>
                        <a:pt x="378" y="210"/>
                        <a:pt x="346" y="242"/>
                        <a:pt x="307" y="242"/>
                      </a:cubicBezTo>
                      <a:cubicBezTo>
                        <a:pt x="301" y="242"/>
                        <a:pt x="296" y="242"/>
                        <a:pt x="291" y="240"/>
                      </a:cubicBezTo>
                      <a:cubicBezTo>
                        <a:pt x="289" y="241"/>
                        <a:pt x="288" y="241"/>
                        <a:pt x="287" y="241"/>
                      </a:cubicBezTo>
                      <a:cubicBezTo>
                        <a:pt x="278" y="241"/>
                        <a:pt x="269" y="236"/>
                        <a:pt x="265" y="229"/>
                      </a:cubicBezTo>
                      <a:cubicBezTo>
                        <a:pt x="265" y="228"/>
                        <a:pt x="264" y="228"/>
                        <a:pt x="264" y="228"/>
                      </a:cubicBezTo>
                      <a:cubicBezTo>
                        <a:pt x="263" y="227"/>
                        <a:pt x="262" y="226"/>
                        <a:pt x="261" y="225"/>
                      </a:cubicBezTo>
                      <a:cubicBezTo>
                        <a:pt x="257" y="222"/>
                        <a:pt x="250" y="219"/>
                        <a:pt x="238" y="219"/>
                      </a:cubicBezTo>
                      <a:cubicBezTo>
                        <a:pt x="234" y="219"/>
                        <a:pt x="224" y="228"/>
                        <a:pt x="215" y="236"/>
                      </a:cubicBezTo>
                      <a:cubicBezTo>
                        <a:pt x="204" y="246"/>
                        <a:pt x="189" y="260"/>
                        <a:pt x="168" y="269"/>
                      </a:cubicBezTo>
                      <a:cubicBezTo>
                        <a:pt x="204" y="304"/>
                        <a:pt x="204" y="305"/>
                        <a:pt x="204" y="305"/>
                      </a:cubicBezTo>
                      <a:cubicBezTo>
                        <a:pt x="205" y="306"/>
                        <a:pt x="208" y="307"/>
                        <a:pt x="210" y="305"/>
                      </a:cubicBezTo>
                      <a:cubicBezTo>
                        <a:pt x="235" y="293"/>
                        <a:pt x="235" y="293"/>
                        <a:pt x="235" y="293"/>
                      </a:cubicBezTo>
                      <a:cubicBezTo>
                        <a:pt x="237" y="292"/>
                        <a:pt x="240" y="292"/>
                        <a:pt x="241" y="293"/>
                      </a:cubicBezTo>
                      <a:cubicBezTo>
                        <a:pt x="263" y="302"/>
                        <a:pt x="263" y="302"/>
                        <a:pt x="263" y="302"/>
                      </a:cubicBezTo>
                      <a:cubicBezTo>
                        <a:pt x="264" y="303"/>
                        <a:pt x="267" y="305"/>
                        <a:pt x="267" y="307"/>
                      </a:cubicBezTo>
                      <a:cubicBezTo>
                        <a:pt x="276" y="337"/>
                        <a:pt x="276" y="337"/>
                        <a:pt x="276" y="337"/>
                      </a:cubicBezTo>
                      <a:cubicBezTo>
                        <a:pt x="277" y="338"/>
                        <a:pt x="279" y="344"/>
                        <a:pt x="281" y="344"/>
                      </a:cubicBezTo>
                      <a:cubicBezTo>
                        <a:pt x="334" y="344"/>
                        <a:pt x="334" y="344"/>
                        <a:pt x="334" y="344"/>
                      </a:cubicBezTo>
                      <a:cubicBezTo>
                        <a:pt x="335" y="344"/>
                        <a:pt x="338" y="338"/>
                        <a:pt x="338" y="337"/>
                      </a:cubicBezTo>
                      <a:cubicBezTo>
                        <a:pt x="348" y="309"/>
                        <a:pt x="348" y="309"/>
                        <a:pt x="348" y="309"/>
                      </a:cubicBezTo>
                      <a:cubicBezTo>
                        <a:pt x="349" y="307"/>
                        <a:pt x="350" y="304"/>
                        <a:pt x="352" y="303"/>
                      </a:cubicBezTo>
                      <a:cubicBezTo>
                        <a:pt x="373" y="294"/>
                        <a:pt x="373" y="294"/>
                        <a:pt x="373" y="294"/>
                      </a:cubicBezTo>
                      <a:cubicBezTo>
                        <a:pt x="375" y="293"/>
                        <a:pt x="377" y="293"/>
                        <a:pt x="379" y="294"/>
                      </a:cubicBezTo>
                      <a:cubicBezTo>
                        <a:pt x="404" y="305"/>
                        <a:pt x="404" y="305"/>
                        <a:pt x="404" y="305"/>
                      </a:cubicBezTo>
                      <a:cubicBezTo>
                        <a:pt x="406" y="307"/>
                        <a:pt x="408" y="306"/>
                        <a:pt x="409" y="305"/>
                      </a:cubicBezTo>
                      <a:cubicBezTo>
                        <a:pt x="447" y="267"/>
                        <a:pt x="447" y="267"/>
                        <a:pt x="447" y="267"/>
                      </a:cubicBezTo>
                      <a:cubicBezTo>
                        <a:pt x="449" y="266"/>
                        <a:pt x="449" y="263"/>
                        <a:pt x="448" y="262"/>
                      </a:cubicBezTo>
                      <a:cubicBezTo>
                        <a:pt x="435" y="236"/>
                        <a:pt x="435" y="236"/>
                        <a:pt x="435" y="236"/>
                      </a:cubicBezTo>
                      <a:cubicBezTo>
                        <a:pt x="435" y="234"/>
                        <a:pt x="435" y="231"/>
                        <a:pt x="435" y="230"/>
                      </a:cubicBezTo>
                      <a:cubicBezTo>
                        <a:pt x="444" y="210"/>
                        <a:pt x="444" y="210"/>
                        <a:pt x="444" y="210"/>
                      </a:cubicBezTo>
                      <a:cubicBezTo>
                        <a:pt x="444" y="209"/>
                        <a:pt x="446" y="207"/>
                        <a:pt x="448" y="206"/>
                      </a:cubicBezTo>
                      <a:cubicBezTo>
                        <a:pt x="473" y="197"/>
                        <a:pt x="473" y="197"/>
                        <a:pt x="473" y="197"/>
                      </a:cubicBezTo>
                      <a:cubicBezTo>
                        <a:pt x="475" y="196"/>
                        <a:pt x="476" y="195"/>
                        <a:pt x="476" y="192"/>
                      </a:cubicBezTo>
                      <a:cubicBezTo>
                        <a:pt x="476" y="139"/>
                        <a:pt x="476" y="139"/>
                        <a:pt x="476" y="139"/>
                      </a:cubicBezTo>
                      <a:cubicBezTo>
                        <a:pt x="476" y="138"/>
                        <a:pt x="475" y="136"/>
                        <a:pt x="473" y="1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33" tIns="43915" rIns="87833" bIns="43915" numCol="1" anchor="t" anchorCtr="0" compatLnSpc="1">
                  <a:prstTxWarp prst="textNoShape">
                    <a:avLst/>
                  </a:prstTxWarp>
                </a:bodyPr>
                <a:lstStyle/>
                <a:p>
                  <a:pPr defTabSz="878004"/>
                  <a:endParaRPr lang="en-US" sz="1600" kern="0">
                    <a:solidFill>
                      <a:srgbClr val="000000"/>
                    </a:solidFill>
                    <a:ea typeface="MS PGothic" charset="0"/>
                  </a:endParaRPr>
                </a:p>
              </p:txBody>
            </p:sp>
          </p:grpSp>
        </p:grpSp>
        <p:grpSp>
          <p:nvGrpSpPr>
            <p:cNvPr id="97" name="Group 96"/>
            <p:cNvGrpSpPr/>
            <p:nvPr/>
          </p:nvGrpSpPr>
          <p:grpSpPr>
            <a:xfrm>
              <a:off x="5040711" y="5013342"/>
              <a:ext cx="6907267" cy="1575048"/>
              <a:chOff x="5040714" y="5013342"/>
              <a:chExt cx="6907271" cy="1575048"/>
            </a:xfrm>
          </p:grpSpPr>
          <p:grpSp>
            <p:nvGrpSpPr>
              <p:cNvPr id="98" name="Group 97"/>
              <p:cNvGrpSpPr/>
              <p:nvPr/>
            </p:nvGrpSpPr>
            <p:grpSpPr>
              <a:xfrm>
                <a:off x="5040714" y="5013342"/>
                <a:ext cx="6907271" cy="1575048"/>
                <a:chOff x="5040711" y="5013342"/>
                <a:chExt cx="6907267" cy="1575048"/>
              </a:xfrm>
            </p:grpSpPr>
            <p:sp>
              <p:nvSpPr>
                <p:cNvPr id="153" name="Rectangle 152"/>
                <p:cNvSpPr/>
                <p:nvPr/>
              </p:nvSpPr>
              <p:spPr bwMode="auto">
                <a:xfrm>
                  <a:off x="7818581" y="5525124"/>
                  <a:ext cx="1342848" cy="1059865"/>
                </a:xfrm>
                <a:prstGeom prst="rect">
                  <a:avLst/>
                </a:prstGeom>
                <a:solidFill>
                  <a:srgbClr val="005695"/>
                </a:solidFill>
                <a:ln w="10795" cap="flat" cmpd="sng" algn="ctr">
                  <a:noFill/>
                  <a:prstDash val="solid"/>
                </a:ln>
                <a:effectLst/>
              </p:spPr>
              <p:txBody>
                <a:bodyPr lIns="89630" tIns="44814" rIns="89630" bIns="44814" anchor="b"/>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Search</a:t>
                  </a:r>
                </a:p>
              </p:txBody>
            </p:sp>
            <p:sp>
              <p:nvSpPr>
                <p:cNvPr id="100" name="Flowchart: Magnetic Disk 86"/>
                <p:cNvSpPr/>
                <p:nvPr/>
              </p:nvSpPr>
              <p:spPr bwMode="auto">
                <a:xfrm flipH="1">
                  <a:off x="5167599" y="5018720"/>
                  <a:ext cx="210553" cy="2530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algn="ctr" defTabSz="895567">
                    <a:lnSpc>
                      <a:spcPct val="90000"/>
                    </a:lnSpc>
                    <a:defRPr/>
                  </a:pPr>
                  <a:endParaRPr lang="en-US" sz="11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9203272" y="5525124"/>
                  <a:ext cx="1342848" cy="1059865"/>
                </a:xfrm>
                <a:prstGeom prst="rect">
                  <a:avLst/>
                </a:prstGeom>
                <a:solidFill>
                  <a:srgbClr val="005695"/>
                </a:solidFill>
                <a:ln w="10795" cap="flat" cmpd="sng" algn="ctr">
                  <a:noFill/>
                  <a:prstDash val="solid"/>
                </a:ln>
                <a:effectLst/>
              </p:spPr>
              <p:txBody>
                <a:bodyPr lIns="89630" tIns="44814" rIns="89630" bIns="44814" anchor="b"/>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Streaming</a:t>
                  </a:r>
                </a:p>
              </p:txBody>
            </p:sp>
            <p:grpSp>
              <p:nvGrpSpPr>
                <p:cNvPr id="102" name="Group 101"/>
                <p:cNvGrpSpPr/>
                <p:nvPr/>
              </p:nvGrpSpPr>
              <p:grpSpPr>
                <a:xfrm>
                  <a:off x="9314389" y="5619032"/>
                  <a:ext cx="367488" cy="351441"/>
                  <a:chOff x="8631671" y="5371382"/>
                  <a:chExt cx="367488" cy="351441"/>
                </a:xfrm>
                <a:solidFill>
                  <a:srgbClr val="FFFFFF"/>
                </a:solidFill>
              </p:grpSpPr>
              <p:sp>
                <p:nvSpPr>
                  <p:cNvPr id="161" name="Freeform 7"/>
                  <p:cNvSpPr>
                    <a:spLocks/>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62" name="Freeform 8"/>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63" name="Freeform 9"/>
                  <p:cNvSpPr>
                    <a:spLocks/>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64" name="Freeform 10"/>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65" name="Freeform 11"/>
                  <p:cNvSpPr>
                    <a:spLocks/>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66" name="Freeform 12"/>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67" name="Freeform 13"/>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68" name="Freeform 14"/>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69" name="Freeform 15"/>
                  <p:cNvSpPr>
                    <a:spLocks/>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70" name="Freeform 16"/>
                  <p:cNvSpPr>
                    <a:spLocks/>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71" name="Freeform 17"/>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72" name="Freeform 18"/>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73" name="Freeform 19"/>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74" name="Freeform 20"/>
                  <p:cNvSpPr>
                    <a:spLocks/>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sp>
                <p:nvSpPr>
                  <p:cNvPr id="175" name="Freeform 21"/>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7833" tIns="43915" rIns="87833" bIns="43915" numCol="1" anchor="t" anchorCtr="0" compatLnSpc="1">
                    <a:prstTxWarp prst="textNoShape">
                      <a:avLst/>
                    </a:prstTxWarp>
                  </a:bodyPr>
                  <a:lstStyle/>
                  <a:p>
                    <a:pPr defTabSz="895775">
                      <a:defRPr/>
                    </a:pPr>
                    <a:endParaRPr lang="en-US" sz="1100" kern="0">
                      <a:solidFill>
                        <a:srgbClr val="000000"/>
                      </a:solidFill>
                      <a:ea typeface="MS PGothic" charset="0"/>
                    </a:endParaRPr>
                  </a:p>
                </p:txBody>
              </p:sp>
            </p:grpSp>
            <p:sp>
              <p:nvSpPr>
                <p:cNvPr id="103" name="Rectangle 102">
                  <a:hlinkClick r:id="" action="ppaction://noaction"/>
                </p:cNvPr>
                <p:cNvSpPr/>
                <p:nvPr/>
              </p:nvSpPr>
              <p:spPr bwMode="auto">
                <a:xfrm>
                  <a:off x="5041086" y="501334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89630" tIns="44814" rIns="89630" bIns="0" numCol="1" spcCol="0" rtlCol="0" fromWordArt="0" anchor="ctr" anchorCtr="0" forceAA="0" compatLnSpc="1">
                  <a:prstTxWarp prst="textNoShape">
                    <a:avLst/>
                  </a:prstTxWarp>
                  <a:noAutofit/>
                </a:bodyPr>
                <a:lstStyle/>
                <a:p>
                  <a:pPr defTabSz="746179">
                    <a:lnSpc>
                      <a:spcPct val="90000"/>
                    </a:lnSpc>
                    <a:defRPr/>
                  </a:pPr>
                  <a:r>
                    <a:rPr lang="en-US" kern="0" dirty="0">
                      <a:ln>
                        <a:solidFill>
                          <a:srgbClr val="FFFFFF">
                            <a:alpha val="0"/>
                          </a:srgbClr>
                        </a:solidFill>
                      </a:ln>
                      <a:gradFill>
                        <a:gsLst>
                          <a:gs pos="55000">
                            <a:srgbClr val="505050">
                              <a:lumMod val="75000"/>
                            </a:srgbClr>
                          </a:gs>
                          <a:gs pos="0">
                            <a:srgbClr val="505050">
                              <a:lumMod val="75000"/>
                            </a:srgbClr>
                          </a:gs>
                        </a:gsLst>
                        <a:lin ang="5400000" scaled="0"/>
                      </a:gradFill>
                      <a:latin typeface="Segoe UI Semibold" panose="020B0702040204020203" pitchFamily="34" charset="0"/>
                      <a:ea typeface="MS PGothic" charset="0"/>
                      <a:cs typeface="Segoe UI Semibold" panose="020B0702040204020203" pitchFamily="34" charset="0"/>
                    </a:rPr>
                    <a:t>Capture + manage</a:t>
                  </a:r>
                </a:p>
              </p:txBody>
            </p:sp>
            <p:grpSp>
              <p:nvGrpSpPr>
                <p:cNvPr id="150" name="Group 149"/>
                <p:cNvGrpSpPr/>
                <p:nvPr/>
              </p:nvGrpSpPr>
              <p:grpSpPr>
                <a:xfrm>
                  <a:off x="5040711" y="5528525"/>
                  <a:ext cx="1343812" cy="1059865"/>
                  <a:chOff x="5044790" y="5280875"/>
                  <a:chExt cx="1343812" cy="1059865"/>
                </a:xfrm>
              </p:grpSpPr>
              <p:sp>
                <p:nvSpPr>
                  <p:cNvPr id="159" name="Rectangle 158"/>
                  <p:cNvSpPr/>
                  <p:nvPr/>
                </p:nvSpPr>
                <p:spPr bwMode="auto">
                  <a:xfrm>
                    <a:off x="5044790" y="5280875"/>
                    <a:ext cx="1343812" cy="1059865"/>
                  </a:xfrm>
                  <a:prstGeom prst="rect">
                    <a:avLst/>
                  </a:prstGeom>
                  <a:solidFill>
                    <a:srgbClr val="005695"/>
                  </a:solidFill>
                  <a:ln w="10795" cap="flat" cmpd="sng" algn="ctr">
                    <a:noFill/>
                    <a:prstDash val="solid"/>
                  </a:ln>
                  <a:effectLst/>
                </p:spPr>
                <p:txBody>
                  <a:bodyPr lIns="89630" tIns="44814" rIns="89630" bIns="44814" anchor="b"/>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Relational</a:t>
                    </a:r>
                  </a:p>
                </p:txBody>
              </p:sp>
              <p:sp>
                <p:nvSpPr>
                  <p:cNvPr id="160" name="Flowchart: Magnetic Disk 86"/>
                  <p:cNvSpPr/>
                  <p:nvPr/>
                </p:nvSpPr>
                <p:spPr bwMode="auto">
                  <a:xfrm flipH="1">
                    <a:off x="5166321" y="5359439"/>
                    <a:ext cx="306334" cy="3681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algn="ctr" defTabSz="895567">
                      <a:lnSpc>
                        <a:spcPct val="90000"/>
                      </a:lnSpc>
                      <a:defRPr/>
                    </a:pPr>
                    <a:endParaRPr lang="en-US" sz="1100"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1" name="Group 150"/>
                <p:cNvGrpSpPr/>
                <p:nvPr/>
              </p:nvGrpSpPr>
              <p:grpSpPr>
                <a:xfrm>
                  <a:off x="10599300" y="5528525"/>
                  <a:ext cx="1348677" cy="1059865"/>
                  <a:chOff x="10592950" y="5280875"/>
                  <a:chExt cx="1348677" cy="1059865"/>
                </a:xfrm>
              </p:grpSpPr>
              <p:sp>
                <p:nvSpPr>
                  <p:cNvPr id="157" name="Rectangle 156"/>
                  <p:cNvSpPr/>
                  <p:nvPr/>
                </p:nvSpPr>
                <p:spPr bwMode="auto">
                  <a:xfrm>
                    <a:off x="10592950" y="5280875"/>
                    <a:ext cx="1348677" cy="1059865"/>
                  </a:xfrm>
                  <a:prstGeom prst="rect">
                    <a:avLst/>
                  </a:prstGeom>
                  <a:solidFill>
                    <a:srgbClr val="005695"/>
                  </a:solidFill>
                  <a:ln w="10795" cap="flat" cmpd="sng" algn="ctr">
                    <a:noFill/>
                    <a:prstDash val="solid"/>
                  </a:ln>
                  <a:effectLst/>
                </p:spPr>
                <p:txBody>
                  <a:bodyPr lIns="89630" tIns="44814" rIns="89630" bIns="44814" anchor="b"/>
                  <a:lstStyle/>
                  <a:p>
                    <a:pPr defTabSz="914139">
                      <a:lnSpc>
                        <a:spcPct val="90000"/>
                      </a:lnSpc>
                      <a:defRPr/>
                    </a:pPr>
                    <a:r>
                      <a:rPr lang="en-US" sz="1200" kern="0">
                        <a:gradFill>
                          <a:gsLst>
                            <a:gs pos="11024">
                              <a:srgbClr val="FFFFFF"/>
                            </a:gs>
                            <a:gs pos="23000">
                              <a:srgbClr val="FFFFFF"/>
                            </a:gs>
                          </a:gsLst>
                          <a:lin ang="5400000" scaled="1"/>
                        </a:gradFill>
                        <a:ea typeface="MS PGothic" charset="0"/>
                      </a:rPr>
                      <a:t>Internal &amp; external</a:t>
                    </a:r>
                    <a:endParaRPr lang="en-US" sz="1200" kern="0" dirty="0">
                      <a:gradFill>
                        <a:gsLst>
                          <a:gs pos="11024">
                            <a:srgbClr val="FFFFFF"/>
                          </a:gs>
                          <a:gs pos="23000">
                            <a:srgbClr val="FFFFFF"/>
                          </a:gs>
                        </a:gsLst>
                        <a:lin ang="5400000" scaled="1"/>
                      </a:gradFill>
                      <a:ea typeface="MS PGothic" charset="0"/>
                    </a:endParaRPr>
                  </a:p>
                </p:txBody>
              </p:sp>
              <p:sp>
                <p:nvSpPr>
                  <p:cNvPr id="158" name="TextBox 157"/>
                  <p:cNvSpPr txBox="1"/>
                  <p:nvPr/>
                </p:nvSpPr>
                <p:spPr>
                  <a:xfrm>
                    <a:off x="10648750" y="5381077"/>
                    <a:ext cx="406235" cy="442812"/>
                  </a:xfrm>
                  <a:prstGeom prst="rect">
                    <a:avLst/>
                  </a:prstGeom>
                  <a:noFill/>
                </p:spPr>
                <p:txBody>
                  <a:bodyPr wrap="square" lIns="0" tIns="0" rIns="0" bIns="0" rtlCol="0">
                    <a:spAutoFit/>
                  </a:bodyPr>
                  <a:lstStyle/>
                  <a:p>
                    <a:pPr algn="ctr" defTabSz="895503">
                      <a:lnSpc>
                        <a:spcPct val="90000"/>
                      </a:lnSpc>
                      <a:defRPr/>
                    </a:pPr>
                    <a:r>
                      <a:rPr lang="en-US" sz="3200" b="1" kern="0" dirty="0">
                        <a:solidFill>
                          <a:srgbClr val="FFFFFF"/>
                        </a:solidFill>
                        <a:ea typeface="MS PGothic" charset="0"/>
                        <a:sym typeface="Wingdings" panose="05000000000000000000" pitchFamily="2" charset="2"/>
                      </a:rPr>
                      <a:t></a:t>
                    </a:r>
                    <a:endParaRPr lang="en-US" sz="3200" b="1" kern="0" dirty="0">
                      <a:solidFill>
                        <a:srgbClr val="FFFFFF"/>
                      </a:solidFill>
                      <a:ea typeface="MS PGothic" charset="0"/>
                    </a:endParaRPr>
                  </a:p>
                </p:txBody>
              </p:sp>
            </p:grpSp>
            <p:sp>
              <p:nvSpPr>
                <p:cNvPr id="155" name="Rectangle 154"/>
                <p:cNvSpPr/>
                <p:nvPr/>
              </p:nvSpPr>
              <p:spPr bwMode="auto">
                <a:xfrm>
                  <a:off x="6433687" y="5528525"/>
                  <a:ext cx="1346864" cy="1059865"/>
                </a:xfrm>
                <a:prstGeom prst="rect">
                  <a:avLst/>
                </a:prstGeom>
                <a:solidFill>
                  <a:srgbClr val="005695"/>
                </a:solidFill>
                <a:ln w="10795" cap="flat" cmpd="sng" algn="ctr">
                  <a:noFill/>
                  <a:prstDash val="solid"/>
                </a:ln>
                <a:effectLst/>
              </p:spPr>
              <p:txBody>
                <a:bodyPr lIns="89630" tIns="44814" rIns="89630" bIns="44814" anchor="b"/>
                <a:lstStyle/>
                <a:p>
                  <a:pPr defTabSz="914139">
                    <a:lnSpc>
                      <a:spcPct val="90000"/>
                    </a:lnSpc>
                    <a:defRPr/>
                  </a:pPr>
                  <a:r>
                    <a:rPr lang="en-US" sz="1200" kern="0" dirty="0">
                      <a:gradFill>
                        <a:gsLst>
                          <a:gs pos="11024">
                            <a:srgbClr val="FFFFFF"/>
                          </a:gs>
                          <a:gs pos="23000">
                            <a:srgbClr val="FFFFFF"/>
                          </a:gs>
                        </a:gsLst>
                        <a:lin ang="5400000" scaled="1"/>
                      </a:gradFill>
                      <a:ea typeface="MS PGothic" charset="0"/>
                    </a:rPr>
                    <a:t>Non-relational</a:t>
                  </a:r>
                </a:p>
              </p:txBody>
            </p:sp>
            <p:sp>
              <p:nvSpPr>
                <p:cNvPr id="154" name="Rectangle 153"/>
                <p:cNvSpPr/>
                <p:nvPr/>
              </p:nvSpPr>
              <p:spPr>
                <a:xfrm>
                  <a:off x="6968854" y="5581977"/>
                  <a:ext cx="503143" cy="468564"/>
                </a:xfrm>
                <a:prstGeom prst="rect">
                  <a:avLst/>
                </a:prstGeom>
              </p:spPr>
              <p:txBody>
                <a:bodyPr wrap="square">
                  <a:spAutoFit/>
                </a:bodyPr>
                <a:lstStyle/>
                <a:p>
                  <a:pPr algn="ctr" defTabSz="913565">
                    <a:defRPr/>
                  </a:pPr>
                  <a:r>
                    <a:rPr lang="en-US" sz="2400" b="1" kern="0" dirty="0">
                      <a:ln>
                        <a:solidFill>
                          <a:prstClr val="white">
                            <a:alpha val="0"/>
                          </a:prstClr>
                        </a:solidFill>
                      </a:ln>
                      <a:solidFill>
                        <a:prstClr val="white"/>
                      </a:solidFill>
                      <a:ea typeface="Segoe UI" panose="020B0502040204020203" pitchFamily="34" charset="0"/>
                      <a:cs typeface="Segoe UI" panose="020B0502040204020203" pitchFamily="34" charset="0"/>
                    </a:rPr>
                    <a:t>{ }</a:t>
                  </a:r>
                </a:p>
              </p:txBody>
            </p:sp>
          </p:grpSp>
          <p:sp>
            <p:nvSpPr>
              <p:cNvPr id="99" name="Freeform 5"/>
              <p:cNvSpPr>
                <a:spLocks noEditPoints="1"/>
              </p:cNvSpPr>
              <p:nvPr/>
            </p:nvSpPr>
            <p:spPr bwMode="auto">
              <a:xfrm>
                <a:off x="6505066" y="5632432"/>
                <a:ext cx="491002" cy="369837"/>
              </a:xfrm>
              <a:custGeom>
                <a:avLst/>
                <a:gdLst>
                  <a:gd name="T0" fmla="*/ 475 w 718"/>
                  <a:gd name="T1" fmla="*/ 424 h 539"/>
                  <a:gd name="T2" fmla="*/ 426 w 718"/>
                  <a:gd name="T3" fmla="*/ 486 h 539"/>
                  <a:gd name="T4" fmla="*/ 515 w 718"/>
                  <a:gd name="T5" fmla="*/ 303 h 539"/>
                  <a:gd name="T6" fmla="*/ 526 w 718"/>
                  <a:gd name="T7" fmla="*/ 369 h 539"/>
                  <a:gd name="T8" fmla="*/ 562 w 718"/>
                  <a:gd name="T9" fmla="*/ 334 h 539"/>
                  <a:gd name="T10" fmla="*/ 493 w 718"/>
                  <a:gd name="T11" fmla="*/ 363 h 539"/>
                  <a:gd name="T12" fmla="*/ 440 w 718"/>
                  <a:gd name="T13" fmla="*/ 416 h 539"/>
                  <a:gd name="T14" fmla="*/ 296 w 718"/>
                  <a:gd name="T15" fmla="*/ 500 h 539"/>
                  <a:gd name="T16" fmla="*/ 327 w 718"/>
                  <a:gd name="T17" fmla="*/ 452 h 539"/>
                  <a:gd name="T18" fmla="*/ 325 w 718"/>
                  <a:gd name="T19" fmla="*/ 423 h 539"/>
                  <a:gd name="T20" fmla="*/ 236 w 718"/>
                  <a:gd name="T21" fmla="*/ 431 h 539"/>
                  <a:gd name="T22" fmla="*/ 211 w 718"/>
                  <a:gd name="T23" fmla="*/ 493 h 539"/>
                  <a:gd name="T24" fmla="*/ 137 w 718"/>
                  <a:gd name="T25" fmla="*/ 440 h 539"/>
                  <a:gd name="T26" fmla="*/ 253 w 718"/>
                  <a:gd name="T27" fmla="*/ 130 h 539"/>
                  <a:gd name="T28" fmla="*/ 219 w 718"/>
                  <a:gd name="T29" fmla="*/ 306 h 539"/>
                  <a:gd name="T30" fmla="*/ 380 w 718"/>
                  <a:gd name="T31" fmla="*/ 328 h 539"/>
                  <a:gd name="T32" fmla="*/ 370 w 718"/>
                  <a:gd name="T33" fmla="*/ 318 h 539"/>
                  <a:gd name="T34" fmla="*/ 235 w 718"/>
                  <a:gd name="T35" fmla="*/ 298 h 539"/>
                  <a:gd name="T36" fmla="*/ 202 w 718"/>
                  <a:gd name="T37" fmla="*/ 222 h 539"/>
                  <a:gd name="T38" fmla="*/ 385 w 718"/>
                  <a:gd name="T39" fmla="*/ 75 h 539"/>
                  <a:gd name="T40" fmla="*/ 535 w 718"/>
                  <a:gd name="T41" fmla="*/ 47 h 539"/>
                  <a:gd name="T42" fmla="*/ 584 w 718"/>
                  <a:gd name="T43" fmla="*/ 85 h 539"/>
                  <a:gd name="T44" fmla="*/ 607 w 718"/>
                  <a:gd name="T45" fmla="*/ 125 h 539"/>
                  <a:gd name="T46" fmla="*/ 589 w 718"/>
                  <a:gd name="T47" fmla="*/ 134 h 539"/>
                  <a:gd name="T48" fmla="*/ 590 w 718"/>
                  <a:gd name="T49" fmla="*/ 151 h 539"/>
                  <a:gd name="T50" fmla="*/ 619 w 718"/>
                  <a:gd name="T51" fmla="*/ 167 h 539"/>
                  <a:gd name="T52" fmla="*/ 566 w 718"/>
                  <a:gd name="T53" fmla="*/ 206 h 539"/>
                  <a:gd name="T54" fmla="*/ 586 w 718"/>
                  <a:gd name="T55" fmla="*/ 223 h 539"/>
                  <a:gd name="T56" fmla="*/ 622 w 718"/>
                  <a:gd name="T57" fmla="*/ 197 h 539"/>
                  <a:gd name="T58" fmla="*/ 655 w 718"/>
                  <a:gd name="T59" fmla="*/ 129 h 539"/>
                  <a:gd name="T60" fmla="*/ 663 w 718"/>
                  <a:gd name="T61" fmla="*/ 319 h 539"/>
                  <a:gd name="T62" fmla="*/ 654 w 718"/>
                  <a:gd name="T63" fmla="*/ 142 h 539"/>
                  <a:gd name="T64" fmla="*/ 379 w 718"/>
                  <a:gd name="T65" fmla="*/ 103 h 539"/>
                  <a:gd name="T66" fmla="*/ 321 w 718"/>
                  <a:gd name="T67" fmla="*/ 124 h 539"/>
                  <a:gd name="T68" fmla="*/ 379 w 718"/>
                  <a:gd name="T69" fmla="*/ 103 h 539"/>
                  <a:gd name="T70" fmla="*/ 478 w 718"/>
                  <a:gd name="T71" fmla="*/ 102 h 539"/>
                  <a:gd name="T72" fmla="*/ 508 w 718"/>
                  <a:gd name="T73" fmla="*/ 151 h 539"/>
                  <a:gd name="T74" fmla="*/ 478 w 718"/>
                  <a:gd name="T75" fmla="*/ 173 h 539"/>
                  <a:gd name="T76" fmla="*/ 543 w 718"/>
                  <a:gd name="T77" fmla="*/ 166 h 539"/>
                  <a:gd name="T78" fmla="*/ 495 w 718"/>
                  <a:gd name="T79" fmla="*/ 322 h 539"/>
                  <a:gd name="T80" fmla="*/ 526 w 718"/>
                  <a:gd name="T81" fmla="*/ 288 h 539"/>
                  <a:gd name="T82" fmla="*/ 79 w 718"/>
                  <a:gd name="T83" fmla="*/ 200 h 539"/>
                  <a:gd name="T84" fmla="*/ 124 w 718"/>
                  <a:gd name="T85" fmla="*/ 442 h 539"/>
                  <a:gd name="T86" fmla="*/ 60 w 718"/>
                  <a:gd name="T87" fmla="*/ 395 h 539"/>
                  <a:gd name="T88" fmla="*/ 620 w 718"/>
                  <a:gd name="T89" fmla="*/ 130 h 539"/>
                  <a:gd name="T90" fmla="*/ 47 w 718"/>
                  <a:gd name="T91" fmla="*/ 233 h 539"/>
                  <a:gd name="T92" fmla="*/ 90 w 718"/>
                  <a:gd name="T93" fmla="*/ 235 h 539"/>
                  <a:gd name="T94" fmla="*/ 70 w 718"/>
                  <a:gd name="T95" fmla="*/ 180 h 539"/>
                  <a:gd name="T96" fmla="*/ 502 w 718"/>
                  <a:gd name="T97" fmla="*/ 181 h 539"/>
                  <a:gd name="T98" fmla="*/ 589 w 718"/>
                  <a:gd name="T99" fmla="*/ 147 h 539"/>
                  <a:gd name="T100" fmla="*/ 597 w 718"/>
                  <a:gd name="T101" fmla="*/ 140 h 539"/>
                  <a:gd name="T102" fmla="*/ 8 w 718"/>
                  <a:gd name="T103" fmla="*/ 233 h 539"/>
                  <a:gd name="T104" fmla="*/ 341 w 718"/>
                  <a:gd name="T105" fmla="*/ 3 h 539"/>
                  <a:gd name="T106" fmla="*/ 1 w 718"/>
                  <a:gd name="T107" fmla="*/ 207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8" h="539">
                    <a:moveTo>
                      <a:pt x="450" y="420"/>
                    </a:moveTo>
                    <a:cubicBezTo>
                      <a:pt x="455" y="406"/>
                      <a:pt x="460" y="393"/>
                      <a:pt x="463" y="380"/>
                    </a:cubicBezTo>
                    <a:cubicBezTo>
                      <a:pt x="465" y="385"/>
                      <a:pt x="466" y="391"/>
                      <a:pt x="469" y="397"/>
                    </a:cubicBezTo>
                    <a:cubicBezTo>
                      <a:pt x="473" y="407"/>
                      <a:pt x="475" y="413"/>
                      <a:pt x="475" y="424"/>
                    </a:cubicBezTo>
                    <a:cubicBezTo>
                      <a:pt x="476" y="435"/>
                      <a:pt x="476" y="446"/>
                      <a:pt x="476" y="457"/>
                    </a:cubicBezTo>
                    <a:cubicBezTo>
                      <a:pt x="480" y="463"/>
                      <a:pt x="480" y="465"/>
                      <a:pt x="480" y="472"/>
                    </a:cubicBezTo>
                    <a:cubicBezTo>
                      <a:pt x="479" y="486"/>
                      <a:pt x="474" y="487"/>
                      <a:pt x="461" y="487"/>
                    </a:cubicBezTo>
                    <a:cubicBezTo>
                      <a:pt x="455" y="487"/>
                      <a:pt x="432" y="487"/>
                      <a:pt x="426" y="486"/>
                    </a:cubicBezTo>
                    <a:cubicBezTo>
                      <a:pt x="418" y="486"/>
                      <a:pt x="413" y="485"/>
                      <a:pt x="410" y="483"/>
                    </a:cubicBezTo>
                    <a:cubicBezTo>
                      <a:pt x="423" y="474"/>
                      <a:pt x="446" y="434"/>
                      <a:pt x="450" y="420"/>
                    </a:cubicBezTo>
                    <a:close/>
                    <a:moveTo>
                      <a:pt x="536" y="314"/>
                    </a:moveTo>
                    <a:cubicBezTo>
                      <a:pt x="528" y="312"/>
                      <a:pt x="522" y="307"/>
                      <a:pt x="515" y="303"/>
                    </a:cubicBezTo>
                    <a:cubicBezTo>
                      <a:pt x="517" y="312"/>
                      <a:pt x="518" y="322"/>
                      <a:pt x="515" y="331"/>
                    </a:cubicBezTo>
                    <a:cubicBezTo>
                      <a:pt x="511" y="345"/>
                      <a:pt x="504" y="369"/>
                      <a:pt x="523" y="373"/>
                    </a:cubicBezTo>
                    <a:cubicBezTo>
                      <a:pt x="531" y="375"/>
                      <a:pt x="534" y="374"/>
                      <a:pt x="545" y="369"/>
                    </a:cubicBezTo>
                    <a:cubicBezTo>
                      <a:pt x="536" y="371"/>
                      <a:pt x="532" y="370"/>
                      <a:pt x="526" y="369"/>
                    </a:cubicBezTo>
                    <a:cubicBezTo>
                      <a:pt x="521" y="368"/>
                      <a:pt x="518" y="365"/>
                      <a:pt x="516" y="361"/>
                    </a:cubicBezTo>
                    <a:cubicBezTo>
                      <a:pt x="518" y="362"/>
                      <a:pt x="521" y="363"/>
                      <a:pt x="527" y="364"/>
                    </a:cubicBezTo>
                    <a:cubicBezTo>
                      <a:pt x="541" y="368"/>
                      <a:pt x="555" y="361"/>
                      <a:pt x="558" y="351"/>
                    </a:cubicBezTo>
                    <a:cubicBezTo>
                      <a:pt x="559" y="345"/>
                      <a:pt x="559" y="342"/>
                      <a:pt x="562" y="334"/>
                    </a:cubicBezTo>
                    <a:cubicBezTo>
                      <a:pt x="565" y="335"/>
                      <a:pt x="568" y="336"/>
                      <a:pt x="572" y="336"/>
                    </a:cubicBezTo>
                    <a:cubicBezTo>
                      <a:pt x="570" y="342"/>
                      <a:pt x="568" y="348"/>
                      <a:pt x="566" y="354"/>
                    </a:cubicBezTo>
                    <a:cubicBezTo>
                      <a:pt x="561" y="369"/>
                      <a:pt x="543" y="381"/>
                      <a:pt x="527" y="381"/>
                    </a:cubicBezTo>
                    <a:cubicBezTo>
                      <a:pt x="512" y="381"/>
                      <a:pt x="503" y="372"/>
                      <a:pt x="493" y="363"/>
                    </a:cubicBezTo>
                    <a:cubicBezTo>
                      <a:pt x="486" y="356"/>
                      <a:pt x="479" y="350"/>
                      <a:pt x="472" y="344"/>
                    </a:cubicBezTo>
                    <a:cubicBezTo>
                      <a:pt x="454" y="338"/>
                      <a:pt x="439" y="332"/>
                      <a:pt x="422" y="319"/>
                    </a:cubicBezTo>
                    <a:cubicBezTo>
                      <a:pt x="434" y="333"/>
                      <a:pt x="442" y="341"/>
                      <a:pt x="459" y="348"/>
                    </a:cubicBezTo>
                    <a:cubicBezTo>
                      <a:pt x="457" y="374"/>
                      <a:pt x="448" y="392"/>
                      <a:pt x="440" y="416"/>
                    </a:cubicBezTo>
                    <a:cubicBezTo>
                      <a:pt x="437" y="427"/>
                      <a:pt x="410" y="471"/>
                      <a:pt x="403" y="475"/>
                    </a:cubicBezTo>
                    <a:cubicBezTo>
                      <a:pt x="398" y="478"/>
                      <a:pt x="365" y="506"/>
                      <a:pt x="358" y="510"/>
                    </a:cubicBezTo>
                    <a:cubicBezTo>
                      <a:pt x="354" y="516"/>
                      <a:pt x="350" y="524"/>
                      <a:pt x="343" y="528"/>
                    </a:cubicBezTo>
                    <a:cubicBezTo>
                      <a:pt x="322" y="539"/>
                      <a:pt x="308" y="518"/>
                      <a:pt x="296" y="500"/>
                    </a:cubicBezTo>
                    <a:cubicBezTo>
                      <a:pt x="291" y="491"/>
                      <a:pt x="277" y="468"/>
                      <a:pt x="289" y="461"/>
                    </a:cubicBezTo>
                    <a:cubicBezTo>
                      <a:pt x="301" y="455"/>
                      <a:pt x="308" y="450"/>
                      <a:pt x="320" y="442"/>
                    </a:cubicBezTo>
                    <a:cubicBezTo>
                      <a:pt x="322" y="445"/>
                      <a:pt x="325" y="448"/>
                      <a:pt x="327" y="452"/>
                    </a:cubicBezTo>
                    <a:cubicBezTo>
                      <a:pt x="327" y="452"/>
                      <a:pt x="327" y="452"/>
                      <a:pt x="327" y="452"/>
                    </a:cubicBezTo>
                    <a:cubicBezTo>
                      <a:pt x="327" y="452"/>
                      <a:pt x="327" y="452"/>
                      <a:pt x="327" y="452"/>
                    </a:cubicBezTo>
                    <a:cubicBezTo>
                      <a:pt x="327" y="452"/>
                      <a:pt x="327" y="452"/>
                      <a:pt x="327" y="452"/>
                    </a:cubicBezTo>
                    <a:cubicBezTo>
                      <a:pt x="327" y="448"/>
                      <a:pt x="326" y="445"/>
                      <a:pt x="326" y="441"/>
                    </a:cubicBezTo>
                    <a:cubicBezTo>
                      <a:pt x="325" y="435"/>
                      <a:pt x="325" y="429"/>
                      <a:pt x="325" y="423"/>
                    </a:cubicBezTo>
                    <a:cubicBezTo>
                      <a:pt x="326" y="417"/>
                      <a:pt x="326" y="410"/>
                      <a:pt x="327" y="404"/>
                    </a:cubicBezTo>
                    <a:cubicBezTo>
                      <a:pt x="325" y="410"/>
                      <a:pt x="321" y="417"/>
                      <a:pt x="320" y="423"/>
                    </a:cubicBezTo>
                    <a:cubicBezTo>
                      <a:pt x="319" y="426"/>
                      <a:pt x="318" y="428"/>
                      <a:pt x="318" y="430"/>
                    </a:cubicBezTo>
                    <a:cubicBezTo>
                      <a:pt x="291" y="435"/>
                      <a:pt x="264" y="436"/>
                      <a:pt x="236" y="431"/>
                    </a:cubicBezTo>
                    <a:cubicBezTo>
                      <a:pt x="235" y="421"/>
                      <a:pt x="232" y="410"/>
                      <a:pt x="231" y="403"/>
                    </a:cubicBezTo>
                    <a:cubicBezTo>
                      <a:pt x="230" y="411"/>
                      <a:pt x="230" y="434"/>
                      <a:pt x="230" y="447"/>
                    </a:cubicBezTo>
                    <a:cubicBezTo>
                      <a:pt x="230" y="458"/>
                      <a:pt x="230" y="461"/>
                      <a:pt x="225" y="470"/>
                    </a:cubicBezTo>
                    <a:cubicBezTo>
                      <a:pt x="220" y="478"/>
                      <a:pt x="218" y="480"/>
                      <a:pt x="211" y="493"/>
                    </a:cubicBezTo>
                    <a:cubicBezTo>
                      <a:pt x="211" y="502"/>
                      <a:pt x="212" y="507"/>
                      <a:pt x="209" y="516"/>
                    </a:cubicBezTo>
                    <a:cubicBezTo>
                      <a:pt x="205" y="529"/>
                      <a:pt x="167" y="519"/>
                      <a:pt x="157" y="516"/>
                    </a:cubicBezTo>
                    <a:cubicBezTo>
                      <a:pt x="145" y="513"/>
                      <a:pt x="119" y="507"/>
                      <a:pt x="125" y="491"/>
                    </a:cubicBezTo>
                    <a:cubicBezTo>
                      <a:pt x="131" y="476"/>
                      <a:pt x="135" y="461"/>
                      <a:pt x="137" y="440"/>
                    </a:cubicBezTo>
                    <a:cubicBezTo>
                      <a:pt x="115" y="408"/>
                      <a:pt x="93" y="363"/>
                      <a:pt x="89" y="323"/>
                    </a:cubicBezTo>
                    <a:cubicBezTo>
                      <a:pt x="86" y="292"/>
                      <a:pt x="88" y="273"/>
                      <a:pt x="95" y="254"/>
                    </a:cubicBezTo>
                    <a:cubicBezTo>
                      <a:pt x="105" y="224"/>
                      <a:pt x="120" y="198"/>
                      <a:pt x="144" y="177"/>
                    </a:cubicBezTo>
                    <a:cubicBezTo>
                      <a:pt x="176" y="148"/>
                      <a:pt x="206" y="137"/>
                      <a:pt x="253" y="130"/>
                    </a:cubicBezTo>
                    <a:cubicBezTo>
                      <a:pt x="242" y="143"/>
                      <a:pt x="231" y="156"/>
                      <a:pt x="219" y="170"/>
                    </a:cubicBezTo>
                    <a:cubicBezTo>
                      <a:pt x="206" y="185"/>
                      <a:pt x="199" y="200"/>
                      <a:pt x="191" y="216"/>
                    </a:cubicBezTo>
                    <a:cubicBezTo>
                      <a:pt x="180" y="238"/>
                      <a:pt x="180" y="246"/>
                      <a:pt x="195" y="265"/>
                    </a:cubicBezTo>
                    <a:cubicBezTo>
                      <a:pt x="207" y="282"/>
                      <a:pt x="214" y="289"/>
                      <a:pt x="219" y="306"/>
                    </a:cubicBezTo>
                    <a:cubicBezTo>
                      <a:pt x="215" y="315"/>
                      <a:pt x="213" y="323"/>
                      <a:pt x="212" y="335"/>
                    </a:cubicBezTo>
                    <a:cubicBezTo>
                      <a:pt x="227" y="352"/>
                      <a:pt x="238" y="363"/>
                      <a:pt x="253" y="367"/>
                    </a:cubicBezTo>
                    <a:cubicBezTo>
                      <a:pt x="267" y="370"/>
                      <a:pt x="279" y="369"/>
                      <a:pt x="292" y="363"/>
                    </a:cubicBezTo>
                    <a:cubicBezTo>
                      <a:pt x="321" y="348"/>
                      <a:pt x="348" y="329"/>
                      <a:pt x="380" y="328"/>
                    </a:cubicBezTo>
                    <a:cubicBezTo>
                      <a:pt x="395" y="291"/>
                      <a:pt x="393" y="261"/>
                      <a:pt x="386" y="225"/>
                    </a:cubicBezTo>
                    <a:cubicBezTo>
                      <a:pt x="381" y="201"/>
                      <a:pt x="379" y="178"/>
                      <a:pt x="378" y="153"/>
                    </a:cubicBezTo>
                    <a:cubicBezTo>
                      <a:pt x="372" y="178"/>
                      <a:pt x="371" y="201"/>
                      <a:pt x="375" y="226"/>
                    </a:cubicBezTo>
                    <a:cubicBezTo>
                      <a:pt x="381" y="257"/>
                      <a:pt x="385" y="291"/>
                      <a:pt x="370" y="318"/>
                    </a:cubicBezTo>
                    <a:cubicBezTo>
                      <a:pt x="340" y="320"/>
                      <a:pt x="315" y="338"/>
                      <a:pt x="289" y="352"/>
                    </a:cubicBezTo>
                    <a:cubicBezTo>
                      <a:pt x="278" y="357"/>
                      <a:pt x="267" y="358"/>
                      <a:pt x="256" y="354"/>
                    </a:cubicBezTo>
                    <a:cubicBezTo>
                      <a:pt x="245" y="351"/>
                      <a:pt x="237" y="344"/>
                      <a:pt x="226" y="331"/>
                    </a:cubicBezTo>
                    <a:cubicBezTo>
                      <a:pt x="225" y="317"/>
                      <a:pt x="228" y="311"/>
                      <a:pt x="235" y="298"/>
                    </a:cubicBezTo>
                    <a:cubicBezTo>
                      <a:pt x="245" y="279"/>
                      <a:pt x="256" y="260"/>
                      <a:pt x="268" y="241"/>
                    </a:cubicBezTo>
                    <a:cubicBezTo>
                      <a:pt x="253" y="259"/>
                      <a:pt x="239" y="274"/>
                      <a:pt x="227" y="292"/>
                    </a:cubicBezTo>
                    <a:cubicBezTo>
                      <a:pt x="223" y="279"/>
                      <a:pt x="216" y="273"/>
                      <a:pt x="206" y="258"/>
                    </a:cubicBezTo>
                    <a:cubicBezTo>
                      <a:pt x="195" y="244"/>
                      <a:pt x="194" y="238"/>
                      <a:pt x="202" y="222"/>
                    </a:cubicBezTo>
                    <a:cubicBezTo>
                      <a:pt x="210" y="206"/>
                      <a:pt x="216" y="191"/>
                      <a:pt x="230" y="177"/>
                    </a:cubicBezTo>
                    <a:cubicBezTo>
                      <a:pt x="253" y="152"/>
                      <a:pt x="274" y="125"/>
                      <a:pt x="299" y="100"/>
                    </a:cubicBezTo>
                    <a:cubicBezTo>
                      <a:pt x="312" y="87"/>
                      <a:pt x="318" y="88"/>
                      <a:pt x="336" y="85"/>
                    </a:cubicBezTo>
                    <a:cubicBezTo>
                      <a:pt x="352" y="82"/>
                      <a:pt x="368" y="79"/>
                      <a:pt x="385" y="75"/>
                    </a:cubicBezTo>
                    <a:cubicBezTo>
                      <a:pt x="368" y="77"/>
                      <a:pt x="353" y="78"/>
                      <a:pt x="337" y="78"/>
                    </a:cubicBezTo>
                    <a:cubicBezTo>
                      <a:pt x="337" y="78"/>
                      <a:pt x="337" y="78"/>
                      <a:pt x="337" y="78"/>
                    </a:cubicBezTo>
                    <a:cubicBezTo>
                      <a:pt x="352" y="58"/>
                      <a:pt x="361" y="47"/>
                      <a:pt x="386" y="36"/>
                    </a:cubicBezTo>
                    <a:cubicBezTo>
                      <a:pt x="448" y="10"/>
                      <a:pt x="487" y="7"/>
                      <a:pt x="535" y="47"/>
                    </a:cubicBezTo>
                    <a:cubicBezTo>
                      <a:pt x="548" y="58"/>
                      <a:pt x="559" y="68"/>
                      <a:pt x="571" y="77"/>
                    </a:cubicBezTo>
                    <a:cubicBezTo>
                      <a:pt x="567" y="78"/>
                      <a:pt x="563" y="79"/>
                      <a:pt x="557" y="81"/>
                    </a:cubicBezTo>
                    <a:cubicBezTo>
                      <a:pt x="564" y="79"/>
                      <a:pt x="571" y="81"/>
                      <a:pt x="578" y="82"/>
                    </a:cubicBezTo>
                    <a:cubicBezTo>
                      <a:pt x="580" y="83"/>
                      <a:pt x="582" y="84"/>
                      <a:pt x="584" y="85"/>
                    </a:cubicBezTo>
                    <a:cubicBezTo>
                      <a:pt x="593" y="91"/>
                      <a:pt x="598" y="94"/>
                      <a:pt x="604" y="102"/>
                    </a:cubicBezTo>
                    <a:cubicBezTo>
                      <a:pt x="610" y="111"/>
                      <a:pt x="615" y="120"/>
                      <a:pt x="620" y="130"/>
                    </a:cubicBezTo>
                    <a:cubicBezTo>
                      <a:pt x="617" y="129"/>
                      <a:pt x="615" y="128"/>
                      <a:pt x="612" y="127"/>
                    </a:cubicBezTo>
                    <a:cubicBezTo>
                      <a:pt x="611" y="126"/>
                      <a:pt x="609" y="126"/>
                      <a:pt x="607" y="125"/>
                    </a:cubicBezTo>
                    <a:cubicBezTo>
                      <a:pt x="603" y="125"/>
                      <a:pt x="599" y="126"/>
                      <a:pt x="596" y="128"/>
                    </a:cubicBezTo>
                    <a:cubicBezTo>
                      <a:pt x="596" y="128"/>
                      <a:pt x="596" y="128"/>
                      <a:pt x="596" y="128"/>
                    </a:cubicBezTo>
                    <a:cubicBezTo>
                      <a:pt x="591" y="131"/>
                      <a:pt x="583" y="133"/>
                      <a:pt x="578" y="134"/>
                    </a:cubicBezTo>
                    <a:cubicBezTo>
                      <a:pt x="580" y="135"/>
                      <a:pt x="586" y="135"/>
                      <a:pt x="589" y="134"/>
                    </a:cubicBezTo>
                    <a:cubicBezTo>
                      <a:pt x="589" y="134"/>
                      <a:pt x="590" y="134"/>
                      <a:pt x="590" y="134"/>
                    </a:cubicBezTo>
                    <a:cubicBezTo>
                      <a:pt x="589" y="136"/>
                      <a:pt x="588" y="138"/>
                      <a:pt x="588" y="141"/>
                    </a:cubicBezTo>
                    <a:cubicBezTo>
                      <a:pt x="588" y="144"/>
                      <a:pt x="588" y="148"/>
                      <a:pt x="590" y="151"/>
                    </a:cubicBezTo>
                    <a:cubicBezTo>
                      <a:pt x="590" y="151"/>
                      <a:pt x="590" y="151"/>
                      <a:pt x="590" y="151"/>
                    </a:cubicBezTo>
                    <a:cubicBezTo>
                      <a:pt x="590" y="152"/>
                      <a:pt x="591" y="153"/>
                      <a:pt x="592" y="153"/>
                    </a:cubicBezTo>
                    <a:cubicBezTo>
                      <a:pt x="589" y="154"/>
                      <a:pt x="587" y="155"/>
                      <a:pt x="584" y="156"/>
                    </a:cubicBezTo>
                    <a:cubicBezTo>
                      <a:pt x="596" y="155"/>
                      <a:pt x="606" y="154"/>
                      <a:pt x="617" y="156"/>
                    </a:cubicBezTo>
                    <a:cubicBezTo>
                      <a:pt x="618" y="159"/>
                      <a:pt x="619" y="163"/>
                      <a:pt x="619" y="167"/>
                    </a:cubicBezTo>
                    <a:cubicBezTo>
                      <a:pt x="618" y="167"/>
                      <a:pt x="617" y="167"/>
                      <a:pt x="615" y="167"/>
                    </a:cubicBezTo>
                    <a:cubicBezTo>
                      <a:pt x="615" y="167"/>
                      <a:pt x="615" y="167"/>
                      <a:pt x="615" y="167"/>
                    </a:cubicBezTo>
                    <a:cubicBezTo>
                      <a:pt x="610" y="163"/>
                      <a:pt x="604" y="164"/>
                      <a:pt x="596" y="166"/>
                    </a:cubicBezTo>
                    <a:cubicBezTo>
                      <a:pt x="571" y="171"/>
                      <a:pt x="577" y="185"/>
                      <a:pt x="566" y="206"/>
                    </a:cubicBezTo>
                    <a:cubicBezTo>
                      <a:pt x="577" y="191"/>
                      <a:pt x="577" y="176"/>
                      <a:pt x="596" y="172"/>
                    </a:cubicBezTo>
                    <a:cubicBezTo>
                      <a:pt x="600" y="171"/>
                      <a:pt x="603" y="169"/>
                      <a:pt x="606" y="170"/>
                    </a:cubicBezTo>
                    <a:cubicBezTo>
                      <a:pt x="601" y="173"/>
                      <a:pt x="596" y="177"/>
                      <a:pt x="594" y="182"/>
                    </a:cubicBezTo>
                    <a:cubicBezTo>
                      <a:pt x="589" y="197"/>
                      <a:pt x="592" y="210"/>
                      <a:pt x="586" y="223"/>
                    </a:cubicBezTo>
                    <a:cubicBezTo>
                      <a:pt x="594" y="211"/>
                      <a:pt x="594" y="199"/>
                      <a:pt x="600" y="186"/>
                    </a:cubicBezTo>
                    <a:cubicBezTo>
                      <a:pt x="603" y="181"/>
                      <a:pt x="611" y="174"/>
                      <a:pt x="616" y="174"/>
                    </a:cubicBezTo>
                    <a:cubicBezTo>
                      <a:pt x="618" y="174"/>
                      <a:pt x="619" y="174"/>
                      <a:pt x="621" y="174"/>
                    </a:cubicBezTo>
                    <a:cubicBezTo>
                      <a:pt x="622" y="182"/>
                      <a:pt x="623" y="190"/>
                      <a:pt x="622" y="197"/>
                    </a:cubicBezTo>
                    <a:cubicBezTo>
                      <a:pt x="621" y="209"/>
                      <a:pt x="618" y="228"/>
                      <a:pt x="616" y="235"/>
                    </a:cubicBezTo>
                    <a:cubicBezTo>
                      <a:pt x="623" y="226"/>
                      <a:pt x="626" y="209"/>
                      <a:pt x="628" y="196"/>
                    </a:cubicBezTo>
                    <a:cubicBezTo>
                      <a:pt x="631" y="183"/>
                      <a:pt x="631" y="168"/>
                      <a:pt x="628" y="154"/>
                    </a:cubicBezTo>
                    <a:cubicBezTo>
                      <a:pt x="624" y="135"/>
                      <a:pt x="644" y="138"/>
                      <a:pt x="655" y="129"/>
                    </a:cubicBezTo>
                    <a:cubicBezTo>
                      <a:pt x="664" y="123"/>
                      <a:pt x="669" y="112"/>
                      <a:pt x="677" y="105"/>
                    </a:cubicBezTo>
                    <a:cubicBezTo>
                      <a:pt x="685" y="97"/>
                      <a:pt x="697" y="108"/>
                      <a:pt x="700" y="115"/>
                    </a:cubicBezTo>
                    <a:cubicBezTo>
                      <a:pt x="713" y="147"/>
                      <a:pt x="718" y="196"/>
                      <a:pt x="715" y="228"/>
                    </a:cubicBezTo>
                    <a:cubicBezTo>
                      <a:pt x="711" y="263"/>
                      <a:pt x="694" y="302"/>
                      <a:pt x="663" y="319"/>
                    </a:cubicBezTo>
                    <a:cubicBezTo>
                      <a:pt x="623" y="341"/>
                      <a:pt x="576" y="328"/>
                      <a:pt x="536" y="314"/>
                    </a:cubicBezTo>
                    <a:close/>
                    <a:moveTo>
                      <a:pt x="656" y="147"/>
                    </a:moveTo>
                    <a:cubicBezTo>
                      <a:pt x="675" y="140"/>
                      <a:pt x="685" y="124"/>
                      <a:pt x="690" y="105"/>
                    </a:cubicBezTo>
                    <a:cubicBezTo>
                      <a:pt x="682" y="121"/>
                      <a:pt x="670" y="134"/>
                      <a:pt x="654" y="142"/>
                    </a:cubicBezTo>
                    <a:cubicBezTo>
                      <a:pt x="645" y="146"/>
                      <a:pt x="639" y="145"/>
                      <a:pt x="630" y="144"/>
                    </a:cubicBezTo>
                    <a:cubicBezTo>
                      <a:pt x="640" y="147"/>
                      <a:pt x="646" y="150"/>
                      <a:pt x="656" y="147"/>
                    </a:cubicBezTo>
                    <a:close/>
                    <a:moveTo>
                      <a:pt x="379" y="103"/>
                    </a:moveTo>
                    <a:cubicBezTo>
                      <a:pt x="379" y="103"/>
                      <a:pt x="379" y="103"/>
                      <a:pt x="379" y="103"/>
                    </a:cubicBezTo>
                    <a:cubicBezTo>
                      <a:pt x="365" y="105"/>
                      <a:pt x="352" y="106"/>
                      <a:pt x="338" y="108"/>
                    </a:cubicBezTo>
                    <a:cubicBezTo>
                      <a:pt x="327" y="109"/>
                      <a:pt x="325" y="108"/>
                      <a:pt x="317" y="116"/>
                    </a:cubicBezTo>
                    <a:cubicBezTo>
                      <a:pt x="305" y="129"/>
                      <a:pt x="293" y="170"/>
                      <a:pt x="289" y="187"/>
                    </a:cubicBezTo>
                    <a:cubicBezTo>
                      <a:pt x="295" y="173"/>
                      <a:pt x="310" y="134"/>
                      <a:pt x="321" y="124"/>
                    </a:cubicBezTo>
                    <a:cubicBezTo>
                      <a:pt x="325" y="122"/>
                      <a:pt x="327" y="120"/>
                      <a:pt x="329" y="119"/>
                    </a:cubicBezTo>
                    <a:cubicBezTo>
                      <a:pt x="321" y="133"/>
                      <a:pt x="322" y="136"/>
                      <a:pt x="324" y="155"/>
                    </a:cubicBezTo>
                    <a:cubicBezTo>
                      <a:pt x="327" y="136"/>
                      <a:pt x="333" y="129"/>
                      <a:pt x="344" y="115"/>
                    </a:cubicBezTo>
                    <a:cubicBezTo>
                      <a:pt x="356" y="112"/>
                      <a:pt x="367" y="108"/>
                      <a:pt x="379" y="103"/>
                    </a:cubicBezTo>
                    <a:cubicBezTo>
                      <a:pt x="379" y="103"/>
                      <a:pt x="379" y="103"/>
                      <a:pt x="379" y="103"/>
                    </a:cubicBezTo>
                    <a:close/>
                    <a:moveTo>
                      <a:pt x="478" y="102"/>
                    </a:moveTo>
                    <a:cubicBezTo>
                      <a:pt x="445" y="110"/>
                      <a:pt x="438" y="124"/>
                      <a:pt x="443" y="146"/>
                    </a:cubicBezTo>
                    <a:cubicBezTo>
                      <a:pt x="446" y="129"/>
                      <a:pt x="453" y="114"/>
                      <a:pt x="478" y="102"/>
                    </a:cubicBezTo>
                    <a:close/>
                    <a:moveTo>
                      <a:pt x="543" y="166"/>
                    </a:moveTo>
                    <a:cubicBezTo>
                      <a:pt x="537" y="166"/>
                      <a:pt x="530" y="167"/>
                      <a:pt x="523" y="170"/>
                    </a:cubicBezTo>
                    <a:cubicBezTo>
                      <a:pt x="522" y="167"/>
                      <a:pt x="522" y="165"/>
                      <a:pt x="521" y="163"/>
                    </a:cubicBezTo>
                    <a:cubicBezTo>
                      <a:pt x="518" y="157"/>
                      <a:pt x="513" y="153"/>
                      <a:pt x="508" y="151"/>
                    </a:cubicBezTo>
                    <a:cubicBezTo>
                      <a:pt x="513" y="149"/>
                      <a:pt x="518" y="146"/>
                      <a:pt x="521" y="142"/>
                    </a:cubicBezTo>
                    <a:cubicBezTo>
                      <a:pt x="510" y="148"/>
                      <a:pt x="498" y="146"/>
                      <a:pt x="488" y="153"/>
                    </a:cubicBezTo>
                    <a:cubicBezTo>
                      <a:pt x="480" y="158"/>
                      <a:pt x="469" y="176"/>
                      <a:pt x="460" y="183"/>
                    </a:cubicBezTo>
                    <a:cubicBezTo>
                      <a:pt x="466" y="181"/>
                      <a:pt x="472" y="177"/>
                      <a:pt x="478" y="173"/>
                    </a:cubicBezTo>
                    <a:cubicBezTo>
                      <a:pt x="478" y="176"/>
                      <a:pt x="478" y="179"/>
                      <a:pt x="480" y="182"/>
                    </a:cubicBezTo>
                    <a:cubicBezTo>
                      <a:pt x="482" y="187"/>
                      <a:pt x="486" y="190"/>
                      <a:pt x="490" y="192"/>
                    </a:cubicBezTo>
                    <a:cubicBezTo>
                      <a:pt x="487" y="196"/>
                      <a:pt x="484" y="201"/>
                      <a:pt x="482" y="206"/>
                    </a:cubicBezTo>
                    <a:cubicBezTo>
                      <a:pt x="498" y="187"/>
                      <a:pt x="521" y="173"/>
                      <a:pt x="543" y="166"/>
                    </a:cubicBezTo>
                    <a:close/>
                    <a:moveTo>
                      <a:pt x="526" y="288"/>
                    </a:moveTo>
                    <a:cubicBezTo>
                      <a:pt x="522" y="289"/>
                      <a:pt x="515" y="290"/>
                      <a:pt x="511" y="291"/>
                    </a:cubicBezTo>
                    <a:cubicBezTo>
                      <a:pt x="500" y="293"/>
                      <a:pt x="499" y="295"/>
                      <a:pt x="498" y="306"/>
                    </a:cubicBezTo>
                    <a:cubicBezTo>
                      <a:pt x="497" y="311"/>
                      <a:pt x="496" y="317"/>
                      <a:pt x="495" y="322"/>
                    </a:cubicBezTo>
                    <a:cubicBezTo>
                      <a:pt x="497" y="316"/>
                      <a:pt x="500" y="310"/>
                      <a:pt x="502" y="304"/>
                    </a:cubicBezTo>
                    <a:cubicBezTo>
                      <a:pt x="505" y="299"/>
                      <a:pt x="506" y="298"/>
                      <a:pt x="511" y="295"/>
                    </a:cubicBezTo>
                    <a:cubicBezTo>
                      <a:pt x="511" y="295"/>
                      <a:pt x="511" y="295"/>
                      <a:pt x="511" y="295"/>
                    </a:cubicBezTo>
                    <a:cubicBezTo>
                      <a:pt x="515" y="293"/>
                      <a:pt x="522" y="290"/>
                      <a:pt x="526" y="288"/>
                    </a:cubicBezTo>
                    <a:close/>
                    <a:moveTo>
                      <a:pt x="74" y="189"/>
                    </a:moveTo>
                    <a:cubicBezTo>
                      <a:pt x="74" y="190"/>
                      <a:pt x="73" y="190"/>
                      <a:pt x="73" y="191"/>
                    </a:cubicBezTo>
                    <a:cubicBezTo>
                      <a:pt x="73" y="193"/>
                      <a:pt x="72" y="195"/>
                      <a:pt x="72" y="197"/>
                    </a:cubicBezTo>
                    <a:cubicBezTo>
                      <a:pt x="75" y="196"/>
                      <a:pt x="77" y="198"/>
                      <a:pt x="79" y="200"/>
                    </a:cubicBezTo>
                    <a:cubicBezTo>
                      <a:pt x="79" y="195"/>
                      <a:pt x="78" y="191"/>
                      <a:pt x="74" y="189"/>
                    </a:cubicBezTo>
                    <a:close/>
                    <a:moveTo>
                      <a:pt x="72" y="438"/>
                    </a:moveTo>
                    <a:cubicBezTo>
                      <a:pt x="80" y="446"/>
                      <a:pt x="109" y="468"/>
                      <a:pt x="120" y="453"/>
                    </a:cubicBezTo>
                    <a:cubicBezTo>
                      <a:pt x="122" y="450"/>
                      <a:pt x="123" y="446"/>
                      <a:pt x="124" y="442"/>
                    </a:cubicBezTo>
                    <a:cubicBezTo>
                      <a:pt x="124" y="442"/>
                      <a:pt x="124" y="442"/>
                      <a:pt x="124" y="442"/>
                    </a:cubicBezTo>
                    <a:cubicBezTo>
                      <a:pt x="109" y="418"/>
                      <a:pt x="94" y="390"/>
                      <a:pt x="86" y="361"/>
                    </a:cubicBezTo>
                    <a:cubicBezTo>
                      <a:pt x="85" y="365"/>
                      <a:pt x="83" y="369"/>
                      <a:pt x="81" y="373"/>
                    </a:cubicBezTo>
                    <a:cubicBezTo>
                      <a:pt x="74" y="381"/>
                      <a:pt x="67" y="388"/>
                      <a:pt x="60" y="395"/>
                    </a:cubicBezTo>
                    <a:cubicBezTo>
                      <a:pt x="55" y="400"/>
                      <a:pt x="54" y="400"/>
                      <a:pt x="55" y="408"/>
                    </a:cubicBezTo>
                    <a:cubicBezTo>
                      <a:pt x="57" y="418"/>
                      <a:pt x="63" y="429"/>
                      <a:pt x="72" y="438"/>
                    </a:cubicBezTo>
                    <a:close/>
                    <a:moveTo>
                      <a:pt x="622" y="135"/>
                    </a:moveTo>
                    <a:cubicBezTo>
                      <a:pt x="622" y="133"/>
                      <a:pt x="621" y="132"/>
                      <a:pt x="620" y="130"/>
                    </a:cubicBezTo>
                    <a:cubicBezTo>
                      <a:pt x="619" y="130"/>
                      <a:pt x="618" y="130"/>
                      <a:pt x="617" y="130"/>
                    </a:cubicBezTo>
                    <a:cubicBezTo>
                      <a:pt x="619" y="132"/>
                      <a:pt x="620" y="134"/>
                      <a:pt x="621" y="136"/>
                    </a:cubicBezTo>
                    <a:cubicBezTo>
                      <a:pt x="621" y="135"/>
                      <a:pt x="622" y="135"/>
                      <a:pt x="622" y="135"/>
                    </a:cubicBezTo>
                    <a:close/>
                    <a:moveTo>
                      <a:pt x="47" y="233"/>
                    </a:moveTo>
                    <a:cubicBezTo>
                      <a:pt x="49" y="240"/>
                      <a:pt x="50" y="245"/>
                      <a:pt x="53" y="251"/>
                    </a:cubicBezTo>
                    <a:cubicBezTo>
                      <a:pt x="58" y="262"/>
                      <a:pt x="73" y="259"/>
                      <a:pt x="84" y="255"/>
                    </a:cubicBezTo>
                    <a:cubicBezTo>
                      <a:pt x="84" y="254"/>
                      <a:pt x="84" y="253"/>
                      <a:pt x="85" y="252"/>
                    </a:cubicBezTo>
                    <a:cubicBezTo>
                      <a:pt x="86" y="246"/>
                      <a:pt x="88" y="241"/>
                      <a:pt x="90" y="235"/>
                    </a:cubicBezTo>
                    <a:cubicBezTo>
                      <a:pt x="86" y="239"/>
                      <a:pt x="81" y="242"/>
                      <a:pt x="75" y="245"/>
                    </a:cubicBezTo>
                    <a:cubicBezTo>
                      <a:pt x="60" y="251"/>
                      <a:pt x="60" y="246"/>
                      <a:pt x="54" y="232"/>
                    </a:cubicBezTo>
                    <a:cubicBezTo>
                      <a:pt x="68" y="221"/>
                      <a:pt x="61" y="207"/>
                      <a:pt x="66" y="192"/>
                    </a:cubicBezTo>
                    <a:cubicBezTo>
                      <a:pt x="67" y="188"/>
                      <a:pt x="68" y="185"/>
                      <a:pt x="70" y="180"/>
                    </a:cubicBezTo>
                    <a:cubicBezTo>
                      <a:pt x="56" y="189"/>
                      <a:pt x="29" y="214"/>
                      <a:pt x="47" y="233"/>
                    </a:cubicBezTo>
                    <a:close/>
                    <a:moveTo>
                      <a:pt x="484" y="187"/>
                    </a:moveTo>
                    <a:cubicBezTo>
                      <a:pt x="485" y="190"/>
                      <a:pt x="487" y="191"/>
                      <a:pt x="490" y="192"/>
                    </a:cubicBezTo>
                    <a:cubicBezTo>
                      <a:pt x="493" y="188"/>
                      <a:pt x="497" y="184"/>
                      <a:pt x="502" y="181"/>
                    </a:cubicBezTo>
                    <a:cubicBezTo>
                      <a:pt x="502" y="180"/>
                      <a:pt x="501" y="180"/>
                      <a:pt x="501" y="179"/>
                    </a:cubicBezTo>
                    <a:cubicBezTo>
                      <a:pt x="499" y="175"/>
                      <a:pt x="493" y="173"/>
                      <a:pt x="489" y="175"/>
                    </a:cubicBezTo>
                    <a:cubicBezTo>
                      <a:pt x="484" y="177"/>
                      <a:pt x="482" y="183"/>
                      <a:pt x="484" y="187"/>
                    </a:cubicBezTo>
                    <a:moveTo>
                      <a:pt x="589" y="147"/>
                    </a:moveTo>
                    <a:cubicBezTo>
                      <a:pt x="589" y="149"/>
                      <a:pt x="590" y="152"/>
                      <a:pt x="592" y="153"/>
                    </a:cubicBezTo>
                    <a:cubicBezTo>
                      <a:pt x="595" y="152"/>
                      <a:pt x="599" y="151"/>
                      <a:pt x="602" y="150"/>
                    </a:cubicBezTo>
                    <a:cubicBezTo>
                      <a:pt x="603" y="150"/>
                      <a:pt x="603" y="149"/>
                      <a:pt x="603" y="148"/>
                    </a:cubicBezTo>
                    <a:cubicBezTo>
                      <a:pt x="603" y="144"/>
                      <a:pt x="600" y="141"/>
                      <a:pt x="597" y="140"/>
                    </a:cubicBezTo>
                    <a:cubicBezTo>
                      <a:pt x="593" y="140"/>
                      <a:pt x="589" y="143"/>
                      <a:pt x="589" y="147"/>
                    </a:cubicBezTo>
                    <a:moveTo>
                      <a:pt x="41" y="162"/>
                    </a:moveTo>
                    <a:cubicBezTo>
                      <a:pt x="12" y="183"/>
                      <a:pt x="4" y="192"/>
                      <a:pt x="8" y="233"/>
                    </a:cubicBezTo>
                    <a:cubicBezTo>
                      <a:pt x="8" y="233"/>
                      <a:pt x="8" y="233"/>
                      <a:pt x="8" y="233"/>
                    </a:cubicBezTo>
                    <a:cubicBezTo>
                      <a:pt x="11" y="201"/>
                      <a:pt x="18" y="187"/>
                      <a:pt x="41" y="162"/>
                    </a:cubicBezTo>
                    <a:close/>
                    <a:moveTo>
                      <a:pt x="341" y="3"/>
                    </a:moveTo>
                    <a:cubicBezTo>
                      <a:pt x="324" y="7"/>
                      <a:pt x="320" y="10"/>
                      <a:pt x="315" y="27"/>
                    </a:cubicBezTo>
                    <a:cubicBezTo>
                      <a:pt x="323" y="14"/>
                      <a:pt x="328" y="10"/>
                      <a:pt x="341" y="3"/>
                    </a:cubicBezTo>
                    <a:close/>
                    <a:moveTo>
                      <a:pt x="368" y="0"/>
                    </a:moveTo>
                    <a:cubicBezTo>
                      <a:pt x="334" y="8"/>
                      <a:pt x="324" y="14"/>
                      <a:pt x="312" y="54"/>
                    </a:cubicBezTo>
                    <a:cubicBezTo>
                      <a:pt x="327" y="25"/>
                      <a:pt x="338" y="14"/>
                      <a:pt x="368" y="0"/>
                    </a:cubicBezTo>
                    <a:close/>
                    <a:moveTo>
                      <a:pt x="1" y="207"/>
                    </a:moveTo>
                    <a:cubicBezTo>
                      <a:pt x="4" y="192"/>
                      <a:pt x="7" y="186"/>
                      <a:pt x="16" y="174"/>
                    </a:cubicBezTo>
                    <a:cubicBezTo>
                      <a:pt x="1" y="185"/>
                      <a:pt x="0" y="189"/>
                      <a:pt x="1" y="207"/>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algn="ctr" defTabSz="895567">
                  <a:lnSpc>
                    <a:spcPct val="90000"/>
                  </a:lnSpc>
                </a:pPr>
                <a:endParaRPr lang="en-US" sz="1100" kern="0">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221" name="Picture 8" descr="\\MAGNUM\Projects\Microsoft\Cloud Power FY12\Design\Icons\PNGs\Cross Platform.png"/>
          <p:cNvPicPr>
            <a:picLocks noChangeAspect="1" noChangeArrowheads="1"/>
          </p:cNvPicPr>
          <p:nvPr/>
        </p:nvPicPr>
        <p:blipFill>
          <a:blip r:embed="rId6" cstate="print">
            <a:lum bright="100000"/>
          </a:blip>
          <a:stretch>
            <a:fillRect/>
          </a:stretch>
        </p:blipFill>
        <p:spPr bwMode="auto">
          <a:xfrm>
            <a:off x="7823314" y="5299133"/>
            <a:ext cx="500336" cy="500336"/>
          </a:xfrm>
          <a:prstGeom prst="rect">
            <a:avLst/>
          </a:prstGeom>
          <a:noFill/>
        </p:spPr>
      </p:pic>
    </p:spTree>
    <p:extLst>
      <p:ext uri="{BB962C8B-B14F-4D97-AF65-F5344CB8AC3E}">
        <p14:creationId xmlns:p14="http://schemas.microsoft.com/office/powerpoint/2010/main" val="23412174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155861468"/>
              </p:ext>
            </p:extLst>
          </p:nvPr>
        </p:nvGraphicFramePr>
        <p:xfrm>
          <a:off x="717227" y="1044800"/>
          <a:ext cx="10579185" cy="5813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smtClean="0"/>
              <a:t>The </a:t>
            </a:r>
            <a:r>
              <a:rPr lang="en-US" i="1" smtClean="0"/>
              <a:t>And </a:t>
            </a:r>
            <a:r>
              <a:rPr lang="en-US" smtClean="0"/>
              <a:t>of Data Persistence</a:t>
            </a:r>
            <a:endParaRPr lang="en-US" dirty="0"/>
          </a:p>
        </p:txBody>
      </p:sp>
    </p:spTree>
    <p:extLst>
      <p:ext uri="{BB962C8B-B14F-4D97-AF65-F5344CB8AC3E}">
        <p14:creationId xmlns:p14="http://schemas.microsoft.com/office/powerpoint/2010/main" val="337747118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14652" t="3232" r="19412" b="5598"/>
          <a:stretch/>
        </p:blipFill>
        <p:spPr>
          <a:xfrm>
            <a:off x="1286358" y="-1"/>
            <a:ext cx="8865031" cy="6895024"/>
          </a:xfrm>
          <a:prstGeom prst="rect">
            <a:avLst/>
          </a:prstGeom>
        </p:spPr>
      </p:pic>
    </p:spTree>
    <p:extLst>
      <p:ext uri="{BB962C8B-B14F-4D97-AF65-F5344CB8AC3E}">
        <p14:creationId xmlns:p14="http://schemas.microsoft.com/office/powerpoint/2010/main" val="398410679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inect Telemetry Retail Application</a:t>
            </a:r>
            <a:endParaRPr lang="en-US" dirty="0"/>
          </a:p>
        </p:txBody>
      </p:sp>
      <p:grpSp>
        <p:nvGrpSpPr>
          <p:cNvPr id="56" name="Group 55"/>
          <p:cNvGrpSpPr/>
          <p:nvPr/>
        </p:nvGrpSpPr>
        <p:grpSpPr>
          <a:xfrm>
            <a:off x="5431600" y="1169426"/>
            <a:ext cx="1434953" cy="920933"/>
            <a:chOff x="3894169" y="877069"/>
            <a:chExt cx="1076215" cy="690700"/>
          </a:xfrm>
        </p:grpSpPr>
        <p:grpSp>
          <p:nvGrpSpPr>
            <p:cNvPr id="4" name="Group 3"/>
            <p:cNvGrpSpPr/>
            <p:nvPr/>
          </p:nvGrpSpPr>
          <p:grpSpPr>
            <a:xfrm>
              <a:off x="4145970" y="1121075"/>
              <a:ext cx="572615" cy="202689"/>
              <a:chOff x="-3915634" y="3840359"/>
              <a:chExt cx="3627209" cy="1023767"/>
            </a:xfrm>
            <a:solidFill>
              <a:schemeClr val="bg2"/>
            </a:solidFill>
          </p:grpSpPr>
          <p:sp>
            <p:nvSpPr>
              <p:cNvPr id="5" name="Freeform 4"/>
              <p:cNvSpPr>
                <a:spLocks noChangeArrowheads="1"/>
              </p:cNvSpPr>
              <p:nvPr/>
            </p:nvSpPr>
            <p:spPr bwMode="auto">
              <a:xfrm>
                <a:off x="-3915634" y="3840359"/>
                <a:ext cx="3627209" cy="1023767"/>
              </a:xfrm>
              <a:custGeom>
                <a:avLst/>
                <a:gdLst>
                  <a:gd name="connsiteX0" fmla="*/ 456216 w 3627209"/>
                  <a:gd name="connsiteY0" fmla="*/ 90117 h 1023767"/>
                  <a:gd name="connsiteX1" fmla="*/ 236554 w 3627209"/>
                  <a:gd name="connsiteY1" fmla="*/ 321039 h 1023767"/>
                  <a:gd name="connsiteX2" fmla="*/ 456216 w 3627209"/>
                  <a:gd name="connsiteY2" fmla="*/ 551961 h 1023767"/>
                  <a:gd name="connsiteX3" fmla="*/ 675878 w 3627209"/>
                  <a:gd name="connsiteY3" fmla="*/ 321039 h 1023767"/>
                  <a:gd name="connsiteX4" fmla="*/ 456216 w 3627209"/>
                  <a:gd name="connsiteY4" fmla="*/ 90117 h 1023767"/>
                  <a:gd name="connsiteX5" fmla="*/ 0 w 3627209"/>
                  <a:gd name="connsiteY5" fmla="*/ 0 h 1023767"/>
                  <a:gd name="connsiteX6" fmla="*/ 3627209 w 3627209"/>
                  <a:gd name="connsiteY6" fmla="*/ 0 h 1023767"/>
                  <a:gd name="connsiteX7" fmla="*/ 3627209 w 3627209"/>
                  <a:gd name="connsiteY7" fmla="*/ 630809 h 1023767"/>
                  <a:gd name="connsiteX8" fmla="*/ 3627209 w 3627209"/>
                  <a:gd name="connsiteY8" fmla="*/ 630817 h 1023767"/>
                  <a:gd name="connsiteX9" fmla="*/ 3627206 w 3627209"/>
                  <a:gd name="connsiteY9" fmla="*/ 630817 h 1023767"/>
                  <a:gd name="connsiteX10" fmla="*/ 3593415 w 3627209"/>
                  <a:gd name="connsiteY10" fmla="*/ 723132 h 1023767"/>
                  <a:gd name="connsiteX11" fmla="*/ 2613392 w 3627209"/>
                  <a:gd name="connsiteY11" fmla="*/ 723132 h 1023767"/>
                  <a:gd name="connsiteX12" fmla="*/ 2613392 w 3627209"/>
                  <a:gd name="connsiteY12" fmla="*/ 832273 h 1023767"/>
                  <a:gd name="connsiteX13" fmla="*/ 3627209 w 3627209"/>
                  <a:gd name="connsiteY13" fmla="*/ 832273 h 1023767"/>
                  <a:gd name="connsiteX14" fmla="*/ 3627209 w 3627209"/>
                  <a:gd name="connsiteY14" fmla="*/ 1023767 h 1023767"/>
                  <a:gd name="connsiteX15" fmla="*/ 0 w 3627209"/>
                  <a:gd name="connsiteY15" fmla="*/ 1023767 h 1023767"/>
                  <a:gd name="connsiteX16" fmla="*/ 0 w 3627209"/>
                  <a:gd name="connsiteY16" fmla="*/ 832273 h 1023767"/>
                  <a:gd name="connsiteX17" fmla="*/ 1025077 w 3627209"/>
                  <a:gd name="connsiteY17" fmla="*/ 832273 h 1023767"/>
                  <a:gd name="connsiteX18" fmla="*/ 1025077 w 3627209"/>
                  <a:gd name="connsiteY18" fmla="*/ 723132 h 1023767"/>
                  <a:gd name="connsiteX19" fmla="*/ 33794 w 3627209"/>
                  <a:gd name="connsiteY19" fmla="*/ 723132 h 1023767"/>
                  <a:gd name="connsiteX20" fmla="*/ 3 w 3627209"/>
                  <a:gd name="connsiteY20" fmla="*/ 630817 h 1023767"/>
                  <a:gd name="connsiteX21" fmla="*/ 0 w 3627209"/>
                  <a:gd name="connsiteY21" fmla="*/ 630817 h 1023767"/>
                  <a:gd name="connsiteX22" fmla="*/ 0 w 3627209"/>
                  <a:gd name="connsiteY22" fmla="*/ 630809 h 102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27209" h="1023767">
                    <a:moveTo>
                      <a:pt x="456216" y="90117"/>
                    </a:moveTo>
                    <a:cubicBezTo>
                      <a:pt x="334900" y="90117"/>
                      <a:pt x="236554" y="193504"/>
                      <a:pt x="236554" y="321039"/>
                    </a:cubicBezTo>
                    <a:cubicBezTo>
                      <a:pt x="236554" y="448574"/>
                      <a:pt x="334900" y="551961"/>
                      <a:pt x="456216" y="551961"/>
                    </a:cubicBezTo>
                    <a:cubicBezTo>
                      <a:pt x="577532" y="551961"/>
                      <a:pt x="675878" y="448574"/>
                      <a:pt x="675878" y="321039"/>
                    </a:cubicBezTo>
                    <a:cubicBezTo>
                      <a:pt x="675878" y="193504"/>
                      <a:pt x="577532" y="90117"/>
                      <a:pt x="456216" y="90117"/>
                    </a:cubicBezTo>
                    <a:close/>
                    <a:moveTo>
                      <a:pt x="0" y="0"/>
                    </a:moveTo>
                    <a:lnTo>
                      <a:pt x="3627209" y="0"/>
                    </a:lnTo>
                    <a:lnTo>
                      <a:pt x="3627209" y="630809"/>
                    </a:lnTo>
                    <a:lnTo>
                      <a:pt x="3627209" y="630817"/>
                    </a:lnTo>
                    <a:lnTo>
                      <a:pt x="3627206" y="630817"/>
                    </a:lnTo>
                    <a:lnTo>
                      <a:pt x="3593415" y="723132"/>
                    </a:lnTo>
                    <a:lnTo>
                      <a:pt x="2613392" y="723132"/>
                    </a:lnTo>
                    <a:lnTo>
                      <a:pt x="2613392" y="832273"/>
                    </a:lnTo>
                    <a:lnTo>
                      <a:pt x="3627209" y="832273"/>
                    </a:lnTo>
                    <a:lnTo>
                      <a:pt x="3627209" y="1023767"/>
                    </a:lnTo>
                    <a:lnTo>
                      <a:pt x="0" y="1023767"/>
                    </a:lnTo>
                    <a:lnTo>
                      <a:pt x="0" y="832273"/>
                    </a:lnTo>
                    <a:lnTo>
                      <a:pt x="1025077" y="832273"/>
                    </a:lnTo>
                    <a:lnTo>
                      <a:pt x="1025077" y="723132"/>
                    </a:lnTo>
                    <a:lnTo>
                      <a:pt x="33794" y="723132"/>
                    </a:lnTo>
                    <a:lnTo>
                      <a:pt x="3" y="630817"/>
                    </a:lnTo>
                    <a:lnTo>
                      <a:pt x="0" y="630817"/>
                    </a:lnTo>
                    <a:lnTo>
                      <a:pt x="0" y="63080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a:gradFill>
                    <a:gsLst>
                      <a:gs pos="0">
                        <a:srgbClr val="FFFFFF"/>
                      </a:gs>
                      <a:gs pos="100000">
                        <a:srgbClr val="FFFFFF"/>
                      </a:gs>
                    </a:gsLst>
                    <a:lin ang="5400000" scaled="0"/>
                  </a:gradFill>
                  <a:ea typeface="Segoe UI" pitchFamily="34" charset="0"/>
                  <a:cs typeface="Segoe UI" pitchFamily="34" charset="0"/>
                </a:endParaRPr>
              </a:p>
            </p:txBody>
          </p:sp>
          <p:sp>
            <p:nvSpPr>
              <p:cNvPr id="6" name="Oval 13"/>
              <p:cNvSpPr>
                <a:spLocks noChangeArrowheads="1"/>
              </p:cNvSpPr>
              <p:nvPr/>
            </p:nvSpPr>
            <p:spPr bwMode="auto">
              <a:xfrm>
                <a:off x="-3566434" y="4043122"/>
                <a:ext cx="214031" cy="22529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3894169" y="877069"/>
              <a:ext cx="1076215" cy="690700"/>
              <a:chOff x="1342452" y="940002"/>
              <a:chExt cx="1243855" cy="798289"/>
            </a:xfrm>
            <a:solidFill>
              <a:schemeClr val="bg2"/>
            </a:solidFill>
          </p:grpSpPr>
          <p:sp>
            <p:nvSpPr>
              <p:cNvPr id="8" name="Freeform 17"/>
              <p:cNvSpPr>
                <a:spLocks/>
              </p:cNvSpPr>
              <p:nvPr/>
            </p:nvSpPr>
            <p:spPr bwMode="auto">
              <a:xfrm flipH="1">
                <a:off x="1342452" y="1687800"/>
                <a:ext cx="1243855" cy="50491"/>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a:spLocks noChangeArrowheads="1"/>
              </p:cNvSpPr>
              <p:nvPr/>
            </p:nvSpPr>
            <p:spPr bwMode="auto">
              <a:xfrm flipH="1">
                <a:off x="1447582" y="940002"/>
                <a:ext cx="1033592" cy="718348"/>
              </a:xfrm>
              <a:custGeom>
                <a:avLst/>
                <a:gdLst>
                  <a:gd name="connsiteX0" fmla="*/ 65525 w 1059462"/>
                  <a:gd name="connsiteY0" fmla="*/ 56659 h 736328"/>
                  <a:gd name="connsiteX1" fmla="*/ 65525 w 1059462"/>
                  <a:gd name="connsiteY1" fmla="*/ 680273 h 736328"/>
                  <a:gd name="connsiteX2" fmla="*/ 993938 w 1059462"/>
                  <a:gd name="connsiteY2" fmla="*/ 680273 h 736328"/>
                  <a:gd name="connsiteX3" fmla="*/ 993938 w 1059462"/>
                  <a:gd name="connsiteY3" fmla="*/ 56659 h 736328"/>
                  <a:gd name="connsiteX4" fmla="*/ 35300 w 1059462"/>
                  <a:gd name="connsiteY4" fmla="*/ 0 h 736328"/>
                  <a:gd name="connsiteX5" fmla="*/ 1024162 w 1059462"/>
                  <a:gd name="connsiteY5" fmla="*/ 0 h 736328"/>
                  <a:gd name="connsiteX6" fmla="*/ 1059462 w 1059462"/>
                  <a:gd name="connsiteY6" fmla="*/ 35300 h 736328"/>
                  <a:gd name="connsiteX7" fmla="*/ 1059462 w 1059462"/>
                  <a:gd name="connsiteY7" fmla="*/ 701028 h 736328"/>
                  <a:gd name="connsiteX8" fmla="*/ 1024162 w 1059462"/>
                  <a:gd name="connsiteY8" fmla="*/ 736328 h 736328"/>
                  <a:gd name="connsiteX9" fmla="*/ 35300 w 1059462"/>
                  <a:gd name="connsiteY9" fmla="*/ 736328 h 736328"/>
                  <a:gd name="connsiteX10" fmla="*/ 0 w 1059462"/>
                  <a:gd name="connsiteY10" fmla="*/ 701028 h 736328"/>
                  <a:gd name="connsiteX11" fmla="*/ 0 w 1059462"/>
                  <a:gd name="connsiteY11" fmla="*/ 35300 h 736328"/>
                  <a:gd name="connsiteX12" fmla="*/ 35300 w 1059462"/>
                  <a:gd name="connsiteY12" fmla="*/ 0 h 73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9462" h="736328">
                    <a:moveTo>
                      <a:pt x="65525" y="56659"/>
                    </a:moveTo>
                    <a:lnTo>
                      <a:pt x="65525" y="680273"/>
                    </a:lnTo>
                    <a:lnTo>
                      <a:pt x="993938" y="680273"/>
                    </a:lnTo>
                    <a:lnTo>
                      <a:pt x="993938" y="56659"/>
                    </a:lnTo>
                    <a:close/>
                    <a:moveTo>
                      <a:pt x="35300" y="0"/>
                    </a:moveTo>
                    <a:lnTo>
                      <a:pt x="1024162" y="0"/>
                    </a:lnTo>
                    <a:cubicBezTo>
                      <a:pt x="1043658" y="0"/>
                      <a:pt x="1059462" y="15804"/>
                      <a:pt x="1059462" y="35300"/>
                    </a:cubicBezTo>
                    <a:lnTo>
                      <a:pt x="1059462" y="701028"/>
                    </a:lnTo>
                    <a:cubicBezTo>
                      <a:pt x="1059462" y="720524"/>
                      <a:pt x="1043658" y="736328"/>
                      <a:pt x="1024162" y="736328"/>
                    </a:cubicBezTo>
                    <a:lnTo>
                      <a:pt x="35300" y="736328"/>
                    </a:lnTo>
                    <a:cubicBezTo>
                      <a:pt x="15804" y="736328"/>
                      <a:pt x="0" y="720524"/>
                      <a:pt x="0" y="701028"/>
                    </a:cubicBezTo>
                    <a:lnTo>
                      <a:pt x="0" y="35300"/>
                    </a:lnTo>
                    <a:cubicBezTo>
                      <a:pt x="0" y="15804"/>
                      <a:pt x="15804" y="0"/>
                      <a:pt x="35300"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lnSpc>
                    <a:spcPct val="90000"/>
                  </a:lnSpc>
                  <a:spcBef>
                    <a:spcPct val="0"/>
                  </a:spcBef>
                  <a:spcAft>
                    <a:spcPct val="0"/>
                  </a:spcAft>
                </a:pP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2" name="Cloud 11"/>
          <p:cNvSpPr/>
          <p:nvPr/>
        </p:nvSpPr>
        <p:spPr>
          <a:xfrm>
            <a:off x="360219" y="2481959"/>
            <a:ext cx="11055927" cy="4510800"/>
          </a:xfrm>
          <a:prstGeom prst="cloud">
            <a:avLst/>
          </a:prstGeom>
          <a:solidFill>
            <a:srgbClr val="E7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50" name="Group 49"/>
          <p:cNvGrpSpPr/>
          <p:nvPr/>
        </p:nvGrpSpPr>
        <p:grpSpPr>
          <a:xfrm>
            <a:off x="9097745" y="4033866"/>
            <a:ext cx="2078183" cy="2147455"/>
            <a:chOff x="6521969" y="3013363"/>
            <a:chExt cx="1558637" cy="1610591"/>
          </a:xfrm>
        </p:grpSpPr>
        <p:sp>
          <p:nvSpPr>
            <p:cNvPr id="16" name="Rectangle 15"/>
            <p:cNvSpPr/>
            <p:nvPr/>
          </p:nvSpPr>
          <p:spPr>
            <a:xfrm>
              <a:off x="6521969" y="3013363"/>
              <a:ext cx="1558637" cy="161059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2"/>
                  </a:solidFill>
                </a:rPr>
                <a:t>Reporting/Analysis</a:t>
              </a:r>
            </a:p>
            <a:p>
              <a:pPr algn="ctr"/>
              <a:endParaRPr lang="en-US" sz="1600" b="1" dirty="0">
                <a:solidFill>
                  <a:schemeClr val="tx2"/>
                </a:solidFill>
              </a:endParaRPr>
            </a:p>
            <a:p>
              <a:pPr algn="ctr"/>
              <a:r>
                <a:rPr lang="en-US" sz="1600" b="1" dirty="0">
                  <a:solidFill>
                    <a:schemeClr val="tx2"/>
                  </a:solidFill>
                </a:rPr>
                <a:t>Hadoop Batch Processing</a:t>
              </a:r>
            </a:p>
          </p:txBody>
        </p:sp>
        <p:pic>
          <p:nvPicPr>
            <p:cNvPr id="17" name="Picture 16"/>
            <p:cNvPicPr>
              <a:picLocks noChangeAspect="1"/>
            </p:cNvPicPr>
            <p:nvPr/>
          </p:nvPicPr>
          <p:blipFill>
            <a:blip r:embed="rId2">
              <a:duotone>
                <a:prstClr val="black"/>
                <a:srgbClr val="0033CC">
                  <a:tint val="45000"/>
                  <a:satMod val="400000"/>
                </a:srgbClr>
              </a:duotone>
            </a:blip>
            <a:stretch>
              <a:fillRect/>
            </a:stretch>
          </p:blipFill>
          <p:spPr>
            <a:xfrm>
              <a:off x="6951916" y="3850751"/>
              <a:ext cx="698743" cy="711106"/>
            </a:xfrm>
            <a:prstGeom prst="rect">
              <a:avLst/>
            </a:prstGeom>
          </p:spPr>
        </p:pic>
      </p:grpSp>
      <p:grpSp>
        <p:nvGrpSpPr>
          <p:cNvPr id="49" name="Group 48"/>
          <p:cNvGrpSpPr/>
          <p:nvPr/>
        </p:nvGrpSpPr>
        <p:grpSpPr>
          <a:xfrm>
            <a:off x="6439238" y="4033866"/>
            <a:ext cx="2078183" cy="2147455"/>
            <a:chOff x="4178259" y="3004617"/>
            <a:chExt cx="1558637" cy="1610591"/>
          </a:xfrm>
        </p:grpSpPr>
        <p:sp>
          <p:nvSpPr>
            <p:cNvPr id="15" name="Rectangle 14"/>
            <p:cNvSpPr/>
            <p:nvPr/>
          </p:nvSpPr>
          <p:spPr>
            <a:xfrm>
              <a:off x="4178259" y="3004617"/>
              <a:ext cx="1558637" cy="161059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2"/>
                  </a:solidFill>
                </a:rPr>
                <a:t>Sensor Data</a:t>
              </a:r>
            </a:p>
            <a:p>
              <a:pPr algn="ctr"/>
              <a:endParaRPr lang="en-US" sz="1600" b="1" dirty="0">
                <a:solidFill>
                  <a:schemeClr val="tx2"/>
                </a:solidFill>
              </a:endParaRPr>
            </a:p>
            <a:p>
              <a:pPr algn="ctr"/>
              <a:r>
                <a:rPr lang="en-US" sz="1600" b="1" dirty="0">
                  <a:solidFill>
                    <a:schemeClr val="tx2"/>
                  </a:solidFill>
                </a:rPr>
                <a:t>Column Family</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3939" y="4084744"/>
              <a:ext cx="1287276" cy="318203"/>
            </a:xfrm>
            <a:prstGeom prst="rect">
              <a:avLst/>
            </a:prstGeom>
          </p:spPr>
        </p:pic>
      </p:grpSp>
      <p:grpSp>
        <p:nvGrpSpPr>
          <p:cNvPr id="46" name="Group 45"/>
          <p:cNvGrpSpPr/>
          <p:nvPr/>
        </p:nvGrpSpPr>
        <p:grpSpPr>
          <a:xfrm>
            <a:off x="1122222" y="4033866"/>
            <a:ext cx="2078183" cy="2147455"/>
            <a:chOff x="540327" y="3013364"/>
            <a:chExt cx="1558637" cy="1610591"/>
          </a:xfrm>
        </p:grpSpPr>
        <p:sp>
          <p:nvSpPr>
            <p:cNvPr id="13" name="Rectangle 12"/>
            <p:cNvSpPr/>
            <p:nvPr/>
          </p:nvSpPr>
          <p:spPr>
            <a:xfrm>
              <a:off x="540327" y="3013364"/>
              <a:ext cx="1558637" cy="161059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2"/>
                  </a:solidFill>
                </a:rPr>
                <a:t>Price Check</a:t>
              </a:r>
            </a:p>
            <a:p>
              <a:pPr algn="ctr"/>
              <a:endParaRPr lang="en-US" sz="1600" b="1" dirty="0">
                <a:solidFill>
                  <a:schemeClr val="tx2"/>
                </a:solidFill>
              </a:endParaRPr>
            </a:p>
            <a:p>
              <a:pPr algn="ctr"/>
              <a:r>
                <a:rPr lang="en-US" sz="1600" b="1" dirty="0">
                  <a:solidFill>
                    <a:schemeClr val="tx2"/>
                  </a:solidFill>
                </a:rPr>
                <a:t>Key-Value</a:t>
              </a:r>
            </a:p>
          </p:txBody>
        </p:sp>
        <p:pic>
          <p:nvPicPr>
            <p:cNvPr id="34" name="Picture 33"/>
            <p:cNvPicPr>
              <a:picLocks noChangeAspect="1"/>
            </p:cNvPicPr>
            <p:nvPr/>
          </p:nvPicPr>
          <p:blipFill>
            <a:blip r:embed="rId4">
              <a:duotone>
                <a:prstClr val="black"/>
                <a:schemeClr val="accent1">
                  <a:tint val="45000"/>
                  <a:satMod val="400000"/>
                </a:schemeClr>
              </a:duotone>
            </a:blip>
            <a:stretch>
              <a:fillRect/>
            </a:stretch>
          </p:blipFill>
          <p:spPr>
            <a:xfrm>
              <a:off x="986493" y="3876504"/>
              <a:ext cx="666304" cy="562033"/>
            </a:xfrm>
            <a:prstGeom prst="rect">
              <a:avLst/>
            </a:prstGeom>
          </p:spPr>
        </p:pic>
      </p:grpSp>
      <p:cxnSp>
        <p:nvCxnSpPr>
          <p:cNvPr id="36" name="Elbow Connector 35"/>
          <p:cNvCxnSpPr>
            <a:endCxn id="16" idx="0"/>
          </p:cNvCxnSpPr>
          <p:nvPr/>
        </p:nvCxnSpPr>
        <p:spPr>
          <a:xfrm>
            <a:off x="6745268" y="1575999"/>
            <a:ext cx="3391569" cy="2457867"/>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endCxn id="15" idx="0"/>
          </p:cNvCxnSpPr>
          <p:nvPr/>
        </p:nvCxnSpPr>
        <p:spPr>
          <a:xfrm rot="16200000" flipH="1">
            <a:off x="6113884" y="2669421"/>
            <a:ext cx="1898021" cy="830868"/>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3780730" y="4033866"/>
            <a:ext cx="2078183" cy="2147455"/>
            <a:chOff x="2251364" y="3009899"/>
            <a:chExt cx="1558637" cy="1610591"/>
          </a:xfrm>
        </p:grpSpPr>
        <p:sp>
          <p:nvSpPr>
            <p:cNvPr id="14" name="Rectangle 13"/>
            <p:cNvSpPr/>
            <p:nvPr/>
          </p:nvSpPr>
          <p:spPr>
            <a:xfrm>
              <a:off x="2251364" y="3009899"/>
              <a:ext cx="1558637" cy="161059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2"/>
                  </a:solidFill>
                </a:rPr>
                <a:t>Product Catalog</a:t>
              </a:r>
            </a:p>
            <a:p>
              <a:pPr algn="ctr"/>
              <a:endParaRPr lang="en-US" sz="1600" b="1" dirty="0">
                <a:solidFill>
                  <a:schemeClr val="tx2"/>
                </a:solidFill>
              </a:endParaRPr>
            </a:p>
            <a:p>
              <a:pPr algn="ctr"/>
              <a:r>
                <a:rPr lang="en-US" sz="1600" b="1" dirty="0">
                  <a:solidFill>
                    <a:schemeClr val="tx2"/>
                  </a:solidFill>
                </a:rPr>
                <a:t>Document Store</a:t>
              </a:r>
            </a:p>
          </p:txBody>
        </p:sp>
        <p:grpSp>
          <p:nvGrpSpPr>
            <p:cNvPr id="47" name="Group 46"/>
            <p:cNvGrpSpPr/>
            <p:nvPr/>
          </p:nvGrpSpPr>
          <p:grpSpPr>
            <a:xfrm>
              <a:off x="2773507" y="3824926"/>
              <a:ext cx="514350" cy="620713"/>
              <a:chOff x="2771854" y="3824926"/>
              <a:chExt cx="514350" cy="620713"/>
            </a:xfrm>
          </p:grpSpPr>
          <p:sp>
            <p:nvSpPr>
              <p:cNvPr id="44" name="Freeform 29"/>
              <p:cNvSpPr>
                <a:spLocks noEditPoints="1"/>
              </p:cNvSpPr>
              <p:nvPr/>
            </p:nvSpPr>
            <p:spPr bwMode="auto">
              <a:xfrm>
                <a:off x="2771854" y="3824926"/>
                <a:ext cx="514350" cy="620713"/>
              </a:xfrm>
              <a:custGeom>
                <a:avLst/>
                <a:gdLst>
                  <a:gd name="T0" fmla="*/ 0 w 1134"/>
                  <a:gd name="T1" fmla="*/ 1182 h 1371"/>
                  <a:gd name="T2" fmla="*/ 0 w 1134"/>
                  <a:gd name="T3" fmla="*/ 189 h 1371"/>
                  <a:gd name="T4" fmla="*/ 1134 w 1134"/>
                  <a:gd name="T5" fmla="*/ 189 h 1371"/>
                  <a:gd name="T6" fmla="*/ 1134 w 1134"/>
                  <a:gd name="T7" fmla="*/ 1182 h 1371"/>
                  <a:gd name="T8" fmla="*/ 0 w 1134"/>
                  <a:gd name="T9" fmla="*/ 1182 h 1371"/>
                  <a:gd name="T10" fmla="*/ 0 w 1134"/>
                  <a:gd name="T11" fmla="*/ 189 h 1371"/>
                  <a:gd name="T12" fmla="*/ 1134 w 1134"/>
                  <a:gd name="T13" fmla="*/ 189 h 1371"/>
                </a:gdLst>
                <a:ahLst/>
                <a:cxnLst>
                  <a:cxn ang="0">
                    <a:pos x="T0" y="T1"/>
                  </a:cxn>
                  <a:cxn ang="0">
                    <a:pos x="T2" y="T3"/>
                  </a:cxn>
                  <a:cxn ang="0">
                    <a:pos x="T4" y="T5"/>
                  </a:cxn>
                  <a:cxn ang="0">
                    <a:pos x="T6" y="T7"/>
                  </a:cxn>
                  <a:cxn ang="0">
                    <a:pos x="T8" y="T9"/>
                  </a:cxn>
                  <a:cxn ang="0">
                    <a:pos x="T10" y="T11"/>
                  </a:cxn>
                  <a:cxn ang="0">
                    <a:pos x="T12" y="T13"/>
                  </a:cxn>
                </a:cxnLst>
                <a:rect l="0" t="0" r="r" b="b"/>
                <a:pathLst>
                  <a:path w="1134" h="1371">
                    <a:moveTo>
                      <a:pt x="0" y="1182"/>
                    </a:moveTo>
                    <a:lnTo>
                      <a:pt x="0" y="189"/>
                    </a:lnTo>
                    <a:cubicBezTo>
                      <a:pt x="354" y="0"/>
                      <a:pt x="780" y="0"/>
                      <a:pt x="1134" y="189"/>
                    </a:cubicBezTo>
                    <a:lnTo>
                      <a:pt x="1134" y="1182"/>
                    </a:lnTo>
                    <a:cubicBezTo>
                      <a:pt x="780" y="1371"/>
                      <a:pt x="354" y="1371"/>
                      <a:pt x="0" y="1182"/>
                    </a:cubicBezTo>
                    <a:close/>
                    <a:moveTo>
                      <a:pt x="0" y="189"/>
                    </a:moveTo>
                    <a:cubicBezTo>
                      <a:pt x="354" y="378"/>
                      <a:pt x="780" y="378"/>
                      <a:pt x="1134" y="189"/>
                    </a:cubicBezTo>
                  </a:path>
                </a:pathLst>
              </a:custGeom>
              <a:solidFill>
                <a:schemeClr val="tx2"/>
              </a:solidFill>
              <a:ln w="7938" cap="sq">
                <a:solidFill>
                  <a:srgbClr val="C8C8C8"/>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5" name="Rectangle 30"/>
              <p:cNvSpPr>
                <a:spLocks noChangeArrowheads="1"/>
              </p:cNvSpPr>
              <p:nvPr/>
            </p:nvSpPr>
            <p:spPr bwMode="auto">
              <a:xfrm>
                <a:off x="2884037" y="4011570"/>
                <a:ext cx="258485" cy="353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219170"/>
                <a:r>
                  <a:rPr lang="en-US" altLang="en-US" sz="3067" dirty="0">
                    <a:solidFill>
                      <a:srgbClr val="FEFFFF"/>
                    </a:solidFill>
                    <a:latin typeface="Segoe UI" panose="020B0502040204020203" pitchFamily="34" charset="0"/>
                  </a:rPr>
                  <a:t>{ }</a:t>
                </a:r>
                <a:endParaRPr lang="en-US" altLang="en-US" sz="2400" dirty="0"/>
              </a:p>
            </p:txBody>
          </p:sp>
        </p:grpSp>
      </p:grpSp>
      <p:cxnSp>
        <p:nvCxnSpPr>
          <p:cNvPr id="53" name="Elbow Connector 52"/>
          <p:cNvCxnSpPr/>
          <p:nvPr/>
        </p:nvCxnSpPr>
        <p:spPr>
          <a:xfrm rot="5400000" flipH="1" flipV="1">
            <a:off x="4343399" y="2588452"/>
            <a:ext cx="1881823" cy="953587"/>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13" idx="0"/>
          </p:cNvCxnSpPr>
          <p:nvPr/>
        </p:nvCxnSpPr>
        <p:spPr>
          <a:xfrm rot="5400000" flipH="1" flipV="1">
            <a:off x="2602410" y="1134906"/>
            <a:ext cx="2457865" cy="3340057"/>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669837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lyglot Persistence Pattern</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8554" y="1425403"/>
            <a:ext cx="6610737" cy="5298523"/>
          </a:xfrm>
          <a:prstGeom prst="rect">
            <a:avLst/>
          </a:prstGeom>
        </p:spPr>
      </p:pic>
      <p:sp>
        <p:nvSpPr>
          <p:cNvPr id="4" name="TextBox 3"/>
          <p:cNvSpPr txBox="1"/>
          <p:nvPr/>
        </p:nvSpPr>
        <p:spPr>
          <a:xfrm>
            <a:off x="7838082" y="1605499"/>
            <a:ext cx="3527573" cy="1323632"/>
          </a:xfrm>
          <a:prstGeom prst="rect">
            <a:avLst/>
          </a:prstGeom>
          <a:noFill/>
        </p:spPr>
        <p:txBody>
          <a:bodyPr wrap="square" rtlCol="0">
            <a:spAutoFit/>
          </a:bodyPr>
          <a:lstStyle/>
          <a:p>
            <a:pPr algn="ctr"/>
            <a:r>
              <a:rPr lang="en-US" sz="2667" dirty="0">
                <a:hlinkClick r:id="rId4"/>
              </a:rPr>
              <a:t> Cloud Ninja Polyglot Persistence Sample Application</a:t>
            </a:r>
            <a:endParaRPr lang="en-US" sz="2133" dirty="0"/>
          </a:p>
        </p:txBody>
      </p:sp>
    </p:spTree>
    <p:extLst>
      <p:ext uri="{BB962C8B-B14F-4D97-AF65-F5344CB8AC3E}">
        <p14:creationId xmlns:p14="http://schemas.microsoft.com/office/powerpoint/2010/main" val="284317760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260606" y="2102712"/>
            <a:ext cx="4960103" cy="913199"/>
          </a:xfrm>
          <a:prstGeom prst="rect">
            <a:avLst/>
          </a:prstGeom>
          <a:noFill/>
        </p:spPr>
        <p:txBody>
          <a:bodyPr wrap="square" rtlCol="0">
            <a:spAutoFit/>
          </a:bodyPr>
          <a:lstStyle/>
          <a:p>
            <a:pPr algn="ctr"/>
            <a:r>
              <a:rPr lang="en-US" sz="2667" dirty="0">
                <a:hlinkClick r:id="rId2"/>
              </a:rPr>
              <a:t>Data-Intensive Applications in the Cloud Computing World</a:t>
            </a:r>
            <a:endParaRPr lang="en-US" sz="2667" dirty="0"/>
          </a:p>
        </p:txBody>
      </p:sp>
      <p:pic>
        <p:nvPicPr>
          <p:cNvPr id="4" name="Picture 3"/>
          <p:cNvPicPr>
            <a:picLocks noChangeAspect="1"/>
          </p:cNvPicPr>
          <p:nvPr/>
        </p:nvPicPr>
        <p:blipFill>
          <a:blip r:embed="rId3"/>
          <a:stretch>
            <a:fillRect/>
          </a:stretch>
        </p:blipFill>
        <p:spPr>
          <a:xfrm>
            <a:off x="236556" y="0"/>
            <a:ext cx="10313997" cy="6798616"/>
          </a:xfrm>
          <a:prstGeom prst="rect">
            <a:avLst/>
          </a:prstGeom>
        </p:spPr>
      </p:pic>
    </p:spTree>
    <p:extLst>
      <p:ext uri="{BB962C8B-B14F-4D97-AF65-F5344CB8AC3E}">
        <p14:creationId xmlns:p14="http://schemas.microsoft.com/office/powerpoint/2010/main" val="334922526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269240"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685"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413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6576"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9021" y="1414595"/>
            <a:ext cx="1792850" cy="4981783"/>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31468" y="1350261"/>
            <a:ext cx="1792850" cy="5050539"/>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700" y="1598533"/>
            <a:ext cx="7352158" cy="4293518"/>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grpSp>
        <p:nvGrpSpPr>
          <p:cNvPr id="23" name="Group 22"/>
          <p:cNvGrpSpPr/>
          <p:nvPr/>
        </p:nvGrpSpPr>
        <p:grpSpPr>
          <a:xfrm>
            <a:off x="269240" y="698995"/>
            <a:ext cx="11655078" cy="717140"/>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smtClean="0">
                  <a:gradFill>
                    <a:gsLst>
                      <a:gs pos="0">
                        <a:srgbClr val="FFFFFF"/>
                      </a:gs>
                      <a:gs pos="100000">
                        <a:srgbClr val="FFFFFF"/>
                      </a:gs>
                    </a:gsLst>
                    <a:lin ang="5400000" scaled="1"/>
                  </a:gradFill>
                  <a:ea typeface="Segoe UI" pitchFamily="34" charset="0"/>
                  <a:cs typeface="Segoe UI" pitchFamily="34" charset="0"/>
                </a:rPr>
                <a:t>Event Queuing System</a:t>
              </a:r>
              <a:endParaRPr lang="en-US" sz="1765" dirty="0">
                <a:gradFill>
                  <a:gsLst>
                    <a:gs pos="0">
                      <a:srgbClr val="FFFFFF"/>
                    </a:gs>
                    <a:gs pos="100000">
                      <a:srgbClr val="FFFFFF"/>
                    </a:gs>
                  </a:gsLst>
                  <a:lin ang="5400000" scaled="1"/>
                </a:gradFill>
                <a:ea typeface="Segoe UI" pitchFamily="34" charset="0"/>
                <a:cs typeface="Segoe UI" pitchFamily="34" charset="0"/>
              </a:endParaRP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defTabSz="914102">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grpSp>
      <p:sp>
        <p:nvSpPr>
          <p:cNvPr id="80" name="Oval 79"/>
          <p:cNvSpPr/>
          <p:nvPr/>
        </p:nvSpPr>
        <p:spPr bwMode="auto">
          <a:xfrm>
            <a:off x="4273126" y="3566831"/>
            <a:ext cx="1508760" cy="150708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300" b="1" dirty="0">
                <a:gradFill>
                  <a:gsLst>
                    <a:gs pos="0">
                      <a:srgbClr val="FFFFFF"/>
                    </a:gs>
                    <a:gs pos="100000">
                      <a:srgbClr val="FFFFFF"/>
                    </a:gs>
                  </a:gsLst>
                  <a:lin ang="5400000" scaled="1"/>
                </a:gradFill>
                <a:ea typeface="Segoe UI" pitchFamily="34" charset="0"/>
                <a:cs typeface="Segoe UI" pitchFamily="34" charset="0"/>
              </a:rPr>
              <a:t>Event </a:t>
            </a:r>
            <a:r>
              <a:rPr lang="en-US" sz="1300" b="1" dirty="0" smtClean="0">
                <a:gradFill>
                  <a:gsLst>
                    <a:gs pos="0">
                      <a:srgbClr val="FFFFFF"/>
                    </a:gs>
                    <a:gs pos="100000">
                      <a:srgbClr val="FFFFFF"/>
                    </a:gs>
                  </a:gsLst>
                  <a:lin ang="5400000" scaled="1"/>
                </a:gradFill>
                <a:ea typeface="Segoe UI" pitchFamily="34" charset="0"/>
                <a:cs typeface="Segoe UI" pitchFamily="34" charset="0"/>
              </a:rPr>
              <a:t>Hubs</a:t>
            </a:r>
            <a:endParaRPr lang="en-US" sz="1300" b="1" dirty="0">
              <a:gradFill>
                <a:gsLst>
                  <a:gs pos="0">
                    <a:srgbClr val="FFFFFF"/>
                  </a:gs>
                  <a:gs pos="100000">
                    <a:srgbClr val="FFFFFF"/>
                  </a:gs>
                </a:gsLst>
                <a:lin ang="5400000" scaled="1"/>
              </a:gradFill>
              <a:ea typeface="Segoe UI" pitchFamily="34" charset="0"/>
              <a:cs typeface="Segoe UI" pitchFamily="34" charset="0"/>
            </a:endParaRPr>
          </a:p>
        </p:txBody>
      </p:sp>
      <p:sp>
        <p:nvSpPr>
          <p:cNvPr id="83" name="Freeform 5"/>
          <p:cNvSpPr>
            <a:spLocks noEditPoints="1"/>
          </p:cNvSpPr>
          <p:nvPr/>
        </p:nvSpPr>
        <p:spPr bwMode="auto">
          <a:xfrm>
            <a:off x="4762675" y="4071604"/>
            <a:ext cx="606954" cy="711225"/>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endParaRPr lang="en-US" sz="1765"/>
          </a:p>
        </p:txBody>
      </p:sp>
      <p:grpSp>
        <p:nvGrpSpPr>
          <p:cNvPr id="171" name="Group 170"/>
          <p:cNvGrpSpPr/>
          <p:nvPr/>
        </p:nvGrpSpPr>
        <p:grpSpPr>
          <a:xfrm>
            <a:off x="6349719" y="5349653"/>
            <a:ext cx="1540528" cy="656345"/>
            <a:chOff x="6401114" y="4959527"/>
            <a:chExt cx="1571419"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170" name="TextBox 169"/>
            <p:cNvSpPr txBox="1"/>
            <p:nvPr/>
          </p:nvSpPr>
          <p:spPr>
            <a:xfrm>
              <a:off x="7284267"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solidFill>
                    <a:srgbClr val="000000"/>
                  </a:solidFill>
                </a:rPr>
                <a:t>Storage </a:t>
              </a:r>
              <a:br>
                <a:rPr lang="en-US" sz="1372" dirty="0">
                  <a:solidFill>
                    <a:srgbClr val="000000"/>
                  </a:solidFill>
                </a:rPr>
              </a:br>
              <a:r>
                <a:rPr lang="en-US" sz="1372" dirty="0">
                  <a:solidFill>
                    <a:srgbClr val="000000"/>
                  </a:solidFill>
                </a:rPr>
                <a:t>adapters</a:t>
              </a:r>
            </a:p>
          </p:txBody>
        </p:sp>
      </p:grpSp>
      <p:sp>
        <p:nvSpPr>
          <p:cNvPr id="174" name="TextBox 173"/>
          <p:cNvSpPr txBox="1"/>
          <p:nvPr/>
        </p:nvSpPr>
        <p:spPr>
          <a:xfrm>
            <a:off x="6792930" y="3604714"/>
            <a:ext cx="861554" cy="380104"/>
          </a:xfrm>
          <a:prstGeom prst="rect">
            <a:avLst/>
          </a:prstGeom>
          <a:noFill/>
        </p:spPr>
        <p:txBody>
          <a:bodyPr wrap="square" lIns="0" tIns="0" rIns="0" bIns="0" rtlCol="0">
            <a:spAutoFit/>
          </a:bodyPr>
          <a:lstStyle/>
          <a:p>
            <a:pPr algn="ctr">
              <a:lnSpc>
                <a:spcPct val="90000"/>
              </a:lnSpc>
              <a:spcAft>
                <a:spcPts val="588"/>
              </a:spcAft>
            </a:pPr>
            <a:r>
              <a:rPr lang="en-US" sz="1372" b="1" dirty="0">
                <a:solidFill>
                  <a:schemeClr val="accent2"/>
                </a:solidFill>
              </a:rPr>
              <a:t>Stream </a:t>
            </a:r>
            <a:br>
              <a:rPr lang="en-US" sz="1372" b="1" dirty="0">
                <a:solidFill>
                  <a:schemeClr val="accent2"/>
                </a:solidFill>
              </a:rPr>
            </a:br>
            <a:r>
              <a:rPr lang="en-US" sz="1372" b="1" dirty="0">
                <a:solidFill>
                  <a:schemeClr val="accent2"/>
                </a:solidFill>
              </a:rPr>
              <a:t>processing</a:t>
            </a:r>
          </a:p>
        </p:txBody>
      </p:sp>
      <p:grpSp>
        <p:nvGrpSpPr>
          <p:cNvPr id="195" name="Group 194"/>
          <p:cNvGrpSpPr/>
          <p:nvPr/>
        </p:nvGrpSpPr>
        <p:grpSpPr>
          <a:xfrm>
            <a:off x="2528413" y="2933904"/>
            <a:ext cx="1286780" cy="1160623"/>
            <a:chOff x="2579112" y="3492574"/>
            <a:chExt cx="1312582" cy="1183896"/>
          </a:xfrm>
        </p:grpSpPr>
        <p:sp>
          <p:nvSpPr>
            <p:cNvPr id="181" name="TextBox 180"/>
            <p:cNvSpPr txBox="1"/>
            <p:nvPr/>
          </p:nvSpPr>
          <p:spPr>
            <a:xfrm>
              <a:off x="2640546" y="4288744"/>
              <a:ext cx="1251148" cy="387726"/>
            </a:xfrm>
            <a:prstGeom prst="rect">
              <a:avLst/>
            </a:prstGeom>
            <a:noFill/>
          </p:spPr>
          <p:txBody>
            <a:bodyPr wrap="none" lIns="0" tIns="0" rIns="0" bIns="0" rtlCol="0">
              <a:spAutoFit/>
            </a:bodyPr>
            <a:lstStyle/>
            <a:p>
              <a:pPr>
                <a:lnSpc>
                  <a:spcPct val="90000"/>
                </a:lnSpc>
                <a:spcAft>
                  <a:spcPts val="588"/>
                </a:spcAft>
              </a:pPr>
              <a:r>
                <a:rPr lang="en-US" sz="1372" dirty="0">
                  <a:solidFill>
                    <a:srgbClr val="000000"/>
                  </a:solidFill>
                </a:rPr>
                <a:t>Cloud gateways</a:t>
              </a:r>
              <a:br>
                <a:rPr lang="en-US" sz="1372" dirty="0">
                  <a:solidFill>
                    <a:srgbClr val="000000"/>
                  </a:solidFill>
                </a:rPr>
              </a:br>
              <a:r>
                <a:rPr lang="en-US" sz="1372" dirty="0">
                  <a:solidFill>
                    <a:srgbClr val="000000"/>
                  </a:soli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grpSp>
      <p:grpSp>
        <p:nvGrpSpPr>
          <p:cNvPr id="197" name="Group 196"/>
          <p:cNvGrpSpPr/>
          <p:nvPr/>
        </p:nvGrpSpPr>
        <p:grpSpPr>
          <a:xfrm>
            <a:off x="2420700" y="5280693"/>
            <a:ext cx="1447348" cy="687135"/>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solidFill>
                    <a:srgbClr val="000000"/>
                  </a:solidFill>
                </a:rPr>
                <a:t>Field </a:t>
              </a:r>
              <a:br>
                <a:rPr lang="en-US" sz="1372" dirty="0">
                  <a:solidFill>
                    <a:srgbClr val="000000"/>
                  </a:solidFill>
                </a:rPr>
              </a:br>
              <a:r>
                <a:rPr lang="en-US" sz="1372" dirty="0">
                  <a:solidFill>
                    <a:srgbClr val="000000"/>
                  </a:soli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endParaRPr lang="en-US" sz="1568">
                <a:solidFill>
                  <a:srgbClr val="000000"/>
                </a:solidFill>
              </a:endParaRPr>
            </a:p>
          </p:txBody>
        </p:sp>
      </p:grpSp>
      <p:grpSp>
        <p:nvGrpSpPr>
          <p:cNvPr id="204" name="Group 203"/>
          <p:cNvGrpSpPr/>
          <p:nvPr/>
        </p:nvGrpSpPr>
        <p:grpSpPr>
          <a:xfrm>
            <a:off x="685566" y="1754914"/>
            <a:ext cx="960199" cy="970385"/>
            <a:chOff x="699313" y="2289942"/>
            <a:chExt cx="979453" cy="989843"/>
          </a:xfrm>
          <a:solidFill>
            <a:schemeClr val="bg1">
              <a:lumMod val="65000"/>
            </a:schemeClr>
          </a:solidFill>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grpFill/>
            <a:ln>
              <a:noFill/>
            </a:ln>
          </p:spPr>
          <p:txBody>
            <a:bodyPr vert="horz" wrap="square" lIns="89642" tIns="44821" rIns="89642" bIns="44821" numCol="1" anchor="t" anchorCtr="0" compatLnSpc="1">
              <a:prstTxWarp prst="textNoShape">
                <a:avLst/>
              </a:prstTxWarp>
            </a:bodyPr>
            <a:lstStyle/>
            <a:p>
              <a:endParaRPr lang="en-US" sz="1765"/>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solidFill>
                    <a:srgbClr val="000000"/>
                  </a:solidFill>
                </a:rPr>
                <a:t>Applications</a:t>
              </a:r>
            </a:p>
          </p:txBody>
        </p:sp>
      </p:grpSp>
      <p:sp>
        <p:nvSpPr>
          <p:cNvPr id="209" name="Freeform 8"/>
          <p:cNvSpPr>
            <a:spLocks noChangeAspect="1" noEditPoints="1"/>
          </p:cNvSpPr>
          <p:nvPr/>
        </p:nvSpPr>
        <p:spPr bwMode="black">
          <a:xfrm>
            <a:off x="10698029" y="2752985"/>
            <a:ext cx="689802" cy="68962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5"/>
          </a:solidFill>
          <a:ln>
            <a:noFill/>
          </a:ln>
        </p:spPr>
        <p:txBody>
          <a:bodyPr vert="horz" wrap="square" lIns="80687" tIns="40344" rIns="80687" bIns="40344" numCol="1" anchor="t" anchorCtr="0" compatLnSpc="1">
            <a:prstTxWarp prst="textNoShape">
              <a:avLst/>
            </a:prstTxWarp>
          </a:bodyPr>
          <a:lstStyle/>
          <a:p>
            <a:endParaRPr lang="en-US" sz="1568" dirty="0">
              <a:solidFill>
                <a:srgbClr val="000000"/>
              </a:solidFill>
            </a:endParaRPr>
          </a:p>
        </p:txBody>
      </p:sp>
      <p:sp>
        <p:nvSpPr>
          <p:cNvPr id="210" name="TextBox 209"/>
          <p:cNvSpPr txBox="1"/>
          <p:nvPr/>
        </p:nvSpPr>
        <p:spPr>
          <a:xfrm>
            <a:off x="10365618" y="3476201"/>
            <a:ext cx="1351267"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rgbClr val="000000"/>
                </a:solidFill>
              </a:rPr>
              <a:t>Search and query</a:t>
            </a:r>
          </a:p>
        </p:txBody>
      </p:sp>
      <p:sp>
        <p:nvSpPr>
          <p:cNvPr id="211" name="Freeform 32"/>
          <p:cNvSpPr>
            <a:spLocks noEditPoints="1"/>
          </p:cNvSpPr>
          <p:nvPr/>
        </p:nvSpPr>
        <p:spPr bwMode="auto">
          <a:xfrm>
            <a:off x="10698030" y="3853590"/>
            <a:ext cx="717394" cy="682837"/>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5"/>
          </a:solidFill>
          <a:ln>
            <a:noFill/>
          </a:ln>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12" name="TextBox 211"/>
          <p:cNvSpPr txBox="1"/>
          <p:nvPr/>
        </p:nvSpPr>
        <p:spPr>
          <a:xfrm>
            <a:off x="10247849" y="4560785"/>
            <a:ext cx="161659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rgbClr val="000000"/>
                </a:solidFill>
              </a:rPr>
              <a:t>Data analytics (Excel)</a:t>
            </a:r>
          </a:p>
        </p:txBody>
      </p:sp>
      <p:sp>
        <p:nvSpPr>
          <p:cNvPr id="213" name="Freeform 27"/>
          <p:cNvSpPr>
            <a:spLocks noChangeAspect="1" noEditPoints="1"/>
          </p:cNvSpPr>
          <p:nvPr/>
        </p:nvSpPr>
        <p:spPr bwMode="black">
          <a:xfrm>
            <a:off x="10577266" y="1584285"/>
            <a:ext cx="897970" cy="578449"/>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1"/>
          </a:solidFill>
          <a:extLst/>
        </p:spPr>
        <p:txBody>
          <a:bodyPr vert="horz" wrap="square" lIns="89642" tIns="44821" rIns="89642" bIns="44821" numCol="1" anchor="t" anchorCtr="0" compatLnSpc="1">
            <a:prstTxWarp prst="textNoShape">
              <a:avLst/>
            </a:prstTxWarp>
          </a:bodyPr>
          <a:lstStyle/>
          <a:p>
            <a:endParaRPr lang="en-US" sz="1765">
              <a:solidFill>
                <a:srgbClr val="000000"/>
              </a:solidFill>
            </a:endParaRPr>
          </a:p>
        </p:txBody>
      </p:sp>
      <p:sp>
        <p:nvSpPr>
          <p:cNvPr id="214" name="TextBox 213"/>
          <p:cNvSpPr txBox="1"/>
          <p:nvPr/>
        </p:nvSpPr>
        <p:spPr>
          <a:xfrm>
            <a:off x="10369902" y="2231470"/>
            <a:ext cx="1311834" cy="380104"/>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rgbClr val="000000"/>
                </a:solidFill>
              </a:rPr>
              <a:t>Web/thick client </a:t>
            </a:r>
            <a:br>
              <a:rPr lang="en-US" sz="1372" dirty="0">
                <a:solidFill>
                  <a:srgbClr val="000000"/>
                </a:solidFill>
              </a:rPr>
            </a:br>
            <a:r>
              <a:rPr lang="en-US" sz="1372" dirty="0">
                <a:solidFill>
                  <a:srgbClr val="000000"/>
                </a:solidFill>
              </a:rPr>
              <a:t>dashboards</a:t>
            </a:r>
          </a:p>
        </p:txBody>
      </p:sp>
      <p:sp>
        <p:nvSpPr>
          <p:cNvPr id="219" name="Right Arrow 218"/>
          <p:cNvSpPr/>
          <p:nvPr/>
        </p:nvSpPr>
        <p:spPr bwMode="auto">
          <a:xfrm>
            <a:off x="7916635" y="4533359"/>
            <a:ext cx="2210170" cy="627498"/>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smtClean="0">
                <a:gradFill>
                  <a:gsLst>
                    <a:gs pos="0">
                      <a:srgbClr val="FFFFFF"/>
                    </a:gs>
                    <a:gs pos="100000">
                      <a:srgbClr val="FFFFFF"/>
                    </a:gs>
                  </a:gsLst>
                  <a:lin ang="5400000" scaled="1"/>
                </a:gradFill>
                <a:ea typeface="Segoe UI" pitchFamily="34" charset="0"/>
                <a:cs typeface="Segoe UI" pitchFamily="34" charset="0"/>
              </a:rPr>
              <a:t>Live Dashboards</a:t>
            </a:r>
            <a:endParaRPr lang="en-US" sz="1176" b="1" dirty="0">
              <a:gradFill>
                <a:gsLst>
                  <a:gs pos="0">
                    <a:srgbClr val="FFFFFF"/>
                  </a:gs>
                  <a:gs pos="100000">
                    <a:srgbClr val="FFFFFF"/>
                  </a:gs>
                </a:gsLst>
                <a:lin ang="5400000" scaled="1"/>
              </a:gradFill>
              <a:ea typeface="Segoe UI" pitchFamily="34" charset="0"/>
              <a:cs typeface="Segoe UI" pitchFamily="34" charset="0"/>
            </a:endParaRPr>
          </a:p>
        </p:txBody>
      </p:sp>
      <p:cxnSp>
        <p:nvCxnSpPr>
          <p:cNvPr id="8" name="Straight Arrow Connector 7"/>
          <p:cNvCxnSpPr/>
          <p:nvPr/>
        </p:nvCxnSpPr>
        <p:spPr>
          <a:xfrm>
            <a:off x="1423191" y="2180778"/>
            <a:ext cx="2820912" cy="95478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50768" y="3522481"/>
            <a:ext cx="470338" cy="683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626" y="3476352"/>
            <a:ext cx="647498"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27626" y="4127993"/>
            <a:ext cx="2247015" cy="77962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037236" y="4624841"/>
            <a:ext cx="1160441" cy="77081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5694454" y="3091978"/>
            <a:ext cx="771830" cy="702788"/>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03102" y="1699258"/>
            <a:ext cx="1554480" cy="155448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300" b="1" dirty="0" smtClean="0">
                <a:gradFill>
                  <a:gsLst>
                    <a:gs pos="0">
                      <a:srgbClr val="FFFFFF"/>
                    </a:gs>
                    <a:gs pos="100000">
                      <a:srgbClr val="FFFFFF"/>
                    </a:gs>
                  </a:gsLst>
                  <a:lin ang="5400000" scaled="1"/>
                </a:gradFill>
                <a:ea typeface="Segoe UI" pitchFamily="34" charset="0"/>
                <a:cs typeface="Segoe UI" pitchFamily="34" charset="0"/>
              </a:rPr>
              <a:t>Apache Storm on </a:t>
            </a:r>
            <a:br>
              <a:rPr lang="en-US" sz="1300" b="1" dirty="0" smtClean="0">
                <a:gradFill>
                  <a:gsLst>
                    <a:gs pos="0">
                      <a:srgbClr val="FFFFFF"/>
                    </a:gs>
                    <a:gs pos="100000">
                      <a:srgbClr val="FFFFFF"/>
                    </a:gs>
                  </a:gsLst>
                  <a:lin ang="5400000" scaled="1"/>
                </a:gradFill>
                <a:ea typeface="Segoe UI" pitchFamily="34" charset="0"/>
                <a:cs typeface="Segoe UI" pitchFamily="34" charset="0"/>
              </a:rPr>
            </a:br>
            <a:r>
              <a:rPr lang="en-US" sz="1300" b="1" dirty="0" err="1" smtClean="0">
                <a:gradFill>
                  <a:gsLst>
                    <a:gs pos="0">
                      <a:srgbClr val="FFFFFF"/>
                    </a:gs>
                    <a:gs pos="100000">
                      <a:srgbClr val="FFFFFF"/>
                    </a:gs>
                  </a:gsLst>
                  <a:lin ang="5400000" scaled="1"/>
                </a:gradFill>
                <a:ea typeface="Segoe UI" pitchFamily="34" charset="0"/>
                <a:cs typeface="Segoe UI" pitchFamily="34" charset="0"/>
              </a:rPr>
              <a:t>HDInsight</a:t>
            </a:r>
            <a:endParaRPr lang="en-US" sz="1300" b="1" dirty="0">
              <a:gradFill>
                <a:gsLst>
                  <a:gs pos="0">
                    <a:srgbClr val="FFFFFF"/>
                  </a:gs>
                  <a:gs pos="100000">
                    <a:srgbClr val="FFFFFF"/>
                  </a:gs>
                </a:gsLst>
                <a:lin ang="5400000" scaled="1"/>
              </a:gradFill>
              <a:ea typeface="Segoe UI" pitchFamily="34" charset="0"/>
              <a:cs typeface="Segoe UI" pitchFamily="34" charset="0"/>
            </a:endParaRPr>
          </a:p>
        </p:txBody>
      </p:sp>
      <p:sp>
        <p:nvSpPr>
          <p:cNvPr id="79" name="Freeform 43"/>
          <p:cNvSpPr>
            <a:spLocks noChangeAspect="1" noEditPoints="1"/>
          </p:cNvSpPr>
          <p:nvPr/>
        </p:nvSpPr>
        <p:spPr bwMode="black">
          <a:xfrm>
            <a:off x="10833396" y="4909437"/>
            <a:ext cx="446660" cy="86102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1" name="TextBox 80"/>
          <p:cNvSpPr txBox="1"/>
          <p:nvPr/>
        </p:nvSpPr>
        <p:spPr>
          <a:xfrm>
            <a:off x="10219509" y="5770466"/>
            <a:ext cx="1697516" cy="190052"/>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rgbClr val="000000"/>
                </a:solidFill>
              </a:rPr>
              <a:t>Devices to take action</a:t>
            </a:r>
          </a:p>
        </p:txBody>
      </p:sp>
      <p:sp>
        <p:nvSpPr>
          <p:cNvPr id="76" name="Oval 75"/>
          <p:cNvSpPr/>
          <p:nvPr/>
        </p:nvSpPr>
        <p:spPr bwMode="auto">
          <a:xfrm>
            <a:off x="4273125" y="1938348"/>
            <a:ext cx="1508760" cy="15070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a:r>
              <a:rPr lang="en-US" sz="1300" b="1" dirty="0" smtClean="0">
                <a:gradFill>
                  <a:gsLst>
                    <a:gs pos="0">
                      <a:srgbClr val="FFFFFF"/>
                    </a:gs>
                    <a:gs pos="100000">
                      <a:srgbClr val="FFFFFF"/>
                    </a:gs>
                  </a:gsLst>
                  <a:lin ang="5400000" scaled="1"/>
                </a:gradFill>
                <a:ea typeface="Segoe UI" pitchFamily="34" charset="0"/>
                <a:cs typeface="Segoe UI" pitchFamily="34" charset="0"/>
              </a:rPr>
              <a:t>Kafka /</a:t>
            </a:r>
            <a:endParaRPr lang="en-US" sz="1300" b="1" i="1" dirty="0"/>
          </a:p>
          <a:p>
            <a:pPr algn="ctr"/>
            <a:r>
              <a:rPr lang="en-US" sz="1300" b="1" i="1" dirty="0" err="1" smtClean="0"/>
              <a:t>RabbitMQ</a:t>
            </a:r>
            <a:r>
              <a:rPr lang="en-US" sz="1300" b="1" i="1" dirty="0" smtClean="0"/>
              <a:t> /</a:t>
            </a:r>
            <a:endParaRPr lang="en-US" sz="1300" b="1" i="1" dirty="0"/>
          </a:p>
          <a:p>
            <a:pPr algn="ctr"/>
            <a:r>
              <a:rPr lang="en-US" sz="1300" b="1" i="1" dirty="0" err="1"/>
              <a:t>ActiveMQ</a:t>
            </a:r>
            <a:endParaRPr lang="en-US" sz="1300" b="1" dirty="0">
              <a:gradFill>
                <a:gsLst>
                  <a:gs pos="0">
                    <a:srgbClr val="FFFFFF"/>
                  </a:gs>
                  <a:gs pos="100000">
                    <a:srgbClr val="FFFFFF"/>
                  </a:gs>
                </a:gsLst>
                <a:lin ang="5400000" scaled="1"/>
              </a:gradFill>
              <a:ea typeface="Segoe UI" pitchFamily="34" charset="0"/>
              <a:cs typeface="Segoe UI" pitchFamily="34" charset="0"/>
            </a:endParaRPr>
          </a:p>
        </p:txBody>
      </p:sp>
      <p:sp>
        <p:nvSpPr>
          <p:cNvPr id="102" name="TextBox 101"/>
          <p:cNvSpPr txBox="1"/>
          <p:nvPr/>
        </p:nvSpPr>
        <p:spPr>
          <a:xfrm>
            <a:off x="661115" y="5815053"/>
            <a:ext cx="1094521" cy="380104"/>
          </a:xfrm>
          <a:prstGeom prst="rect">
            <a:avLst/>
          </a:prstGeom>
          <a:noFill/>
        </p:spPr>
        <p:txBody>
          <a:bodyPr wrap="square" lIns="0" tIns="0" rIns="0" bIns="0" rtlCol="0">
            <a:spAutoFit/>
          </a:bodyPr>
          <a:lstStyle/>
          <a:p>
            <a:pPr algn="ctr">
              <a:lnSpc>
                <a:spcPct val="90000"/>
              </a:lnSpc>
            </a:pPr>
            <a:r>
              <a:rPr lang="en-US" sz="1372" dirty="0" smtClean="0">
                <a:solidFill>
                  <a:srgbClr val="000000"/>
                </a:solidFill>
              </a:rPr>
              <a:t>Web and Social</a:t>
            </a:r>
            <a:endParaRPr lang="en-US" sz="1372" dirty="0">
              <a:solidFill>
                <a:srgbClr val="000000"/>
              </a:solidFill>
            </a:endParaRPr>
          </a:p>
        </p:txBody>
      </p:sp>
      <p:grpSp>
        <p:nvGrpSpPr>
          <p:cNvPr id="13" name="Group 12"/>
          <p:cNvGrpSpPr/>
          <p:nvPr/>
        </p:nvGrpSpPr>
        <p:grpSpPr>
          <a:xfrm>
            <a:off x="682780" y="5121475"/>
            <a:ext cx="951571" cy="548358"/>
            <a:chOff x="1157890" y="5857031"/>
            <a:chExt cx="731059" cy="356127"/>
          </a:xfrm>
        </p:grpSpPr>
        <p:sp>
          <p:nvSpPr>
            <p:cNvPr id="106" name="Freeform 30"/>
            <p:cNvSpPr>
              <a:spLocks noChangeAspect="1" noEditPoints="1"/>
            </p:cNvSpPr>
            <p:nvPr/>
          </p:nvSpPr>
          <p:spPr bwMode="auto">
            <a:xfrm>
              <a:off x="1157890" y="5870448"/>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08" name="Freeform 13"/>
            <p:cNvSpPr>
              <a:spLocks noChangeAspect="1" noEditPoints="1"/>
            </p:cNvSpPr>
            <p:nvPr/>
          </p:nvSpPr>
          <p:spPr bwMode="black">
            <a:xfrm>
              <a:off x="1479671" y="585703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rgbClr val="000000"/>
                </a:solidFill>
                <a:latin typeface="Segoe Light" pitchFamily="34" charset="0"/>
              </a:endParaRPr>
            </a:p>
          </p:txBody>
        </p:sp>
      </p:grpSp>
      <p:sp>
        <p:nvSpPr>
          <p:cNvPr id="119" name="Rectangle 118">
            <a:hlinkClick r:id="" action="ppaction://noaction"/>
          </p:cNvPr>
          <p:cNvSpPr/>
          <p:nvPr/>
        </p:nvSpPr>
        <p:spPr bwMode="auto">
          <a:xfrm>
            <a:off x="519971" y="3213333"/>
            <a:ext cx="1450513" cy="1028159"/>
          </a:xfrm>
          <a:prstGeom prst="rect">
            <a:avLst/>
          </a:prstGeom>
          <a:no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146304" rIns="0" bIns="146304" numCol="1" spcCol="0" rtlCol="0" fromWordArt="0" anchor="t" anchorCtr="0" forceAA="0" compatLnSpc="1">
            <a:prstTxWarp prst="textNoShape">
              <a:avLst/>
            </a:prstTxWarp>
            <a:noAutofit/>
          </a:bodyPr>
          <a:lstStyle/>
          <a:p>
            <a:pPr defTabSz="776927">
              <a:lnSpc>
                <a:spcPct val="90000"/>
              </a:lnSpc>
            </a:pPr>
            <a:endParaRPr lang="en-US" sz="2000" kern="0" dirty="0">
              <a:ln>
                <a:solidFill>
                  <a:srgbClr val="FFFFFF">
                    <a:alpha val="0"/>
                  </a:srgbClr>
                </a:solidFill>
              </a:ln>
              <a:gradFill>
                <a:gsLst>
                  <a:gs pos="56637">
                    <a:schemeClr val="bg1"/>
                  </a:gs>
                  <a:gs pos="11000">
                    <a:schemeClr val="bg1"/>
                  </a:gs>
                </a:gsLst>
                <a:lin ang="5400000" scaled="0"/>
              </a:gradFill>
            </a:endParaRPr>
          </a:p>
        </p:txBody>
      </p:sp>
      <p:grpSp>
        <p:nvGrpSpPr>
          <p:cNvPr id="11" name="Group 10"/>
          <p:cNvGrpSpPr/>
          <p:nvPr/>
        </p:nvGrpSpPr>
        <p:grpSpPr>
          <a:xfrm>
            <a:off x="682780" y="3078042"/>
            <a:ext cx="1051375" cy="661144"/>
            <a:chOff x="681416" y="4028239"/>
            <a:chExt cx="634251" cy="379977"/>
          </a:xfrm>
        </p:grpSpPr>
        <p:sp>
          <p:nvSpPr>
            <p:cNvPr id="120" name="Freeform 6"/>
            <p:cNvSpPr>
              <a:spLocks noEditPoints="1"/>
            </p:cNvSpPr>
            <p:nvPr/>
          </p:nvSpPr>
          <p:spPr bwMode="auto">
            <a:xfrm rot="5400000">
              <a:off x="1007591" y="4130249"/>
              <a:ext cx="190964" cy="291561"/>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A5A5A5"/>
            </a:solidFill>
            <a:ln>
              <a:noFill/>
            </a:ln>
          </p:spPr>
          <p:txBody>
            <a:bodyPr vert="horz" wrap="square" lIns="91436" tIns="45719" rIns="91436" bIns="45719" numCol="1" anchor="t" anchorCtr="0" compatLnSpc="1">
              <a:prstTxWarp prst="textNoShape">
                <a:avLst/>
              </a:prstTxWarp>
            </a:bodyPr>
            <a:lstStyle/>
            <a:p>
              <a:pPr defTabSz="914184"/>
              <a:endParaRPr lang="en-US" sz="1700" dirty="0">
                <a:solidFill>
                  <a:srgbClr val="000000"/>
                </a:solidFill>
              </a:endParaRPr>
            </a:p>
          </p:txBody>
        </p:sp>
        <p:sp>
          <p:nvSpPr>
            <p:cNvPr id="121" name="Freeform 43"/>
            <p:cNvSpPr>
              <a:spLocks noChangeAspect="1" noEditPoints="1"/>
            </p:cNvSpPr>
            <p:nvPr/>
          </p:nvSpPr>
          <p:spPr bwMode="black">
            <a:xfrm>
              <a:off x="681416" y="4028239"/>
              <a:ext cx="196604" cy="378995"/>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A5A5A5"/>
            </a:solidFill>
            <a:ln>
              <a:noFill/>
            </a:ln>
          </p:spPr>
          <p:txBody>
            <a:bodyPr vert="horz" wrap="square" lIns="91440" tIns="45720" rIns="91440" bIns="45720" numCol="1" anchor="t" anchorCtr="0" compatLnSpc="1">
              <a:prstTxWarp prst="textNoShape">
                <a:avLst/>
              </a:prstTxWarp>
            </a:bodyPr>
            <a:lstStyle/>
            <a:p>
              <a:endParaRPr lang="en-US"/>
            </a:p>
          </p:txBody>
        </p:sp>
        <p:sp>
          <p:nvSpPr>
            <p:cNvPr id="122" name="Rounded Rectangle 6"/>
            <p:cNvSpPr>
              <a:spLocks noChangeAspect="1"/>
            </p:cNvSpPr>
            <p:nvPr/>
          </p:nvSpPr>
          <p:spPr bwMode="black">
            <a:xfrm rot="16200000">
              <a:off x="965318" y="4057868"/>
              <a:ext cx="289825" cy="410872"/>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A5A5A5"/>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
        <p:nvSpPr>
          <p:cNvPr id="123" name="TextBox 122"/>
          <p:cNvSpPr txBox="1"/>
          <p:nvPr/>
        </p:nvSpPr>
        <p:spPr>
          <a:xfrm>
            <a:off x="824179" y="3853416"/>
            <a:ext cx="591509" cy="190052"/>
          </a:xfrm>
          <a:prstGeom prst="rect">
            <a:avLst/>
          </a:prstGeom>
          <a:noFill/>
        </p:spPr>
        <p:txBody>
          <a:bodyPr wrap="none" lIns="0" tIns="0" rIns="0" bIns="0" rtlCol="0">
            <a:spAutoFit/>
          </a:bodyPr>
          <a:lstStyle/>
          <a:p>
            <a:pPr algn="ctr">
              <a:lnSpc>
                <a:spcPct val="90000"/>
              </a:lnSpc>
              <a:spcAft>
                <a:spcPts val="588"/>
              </a:spcAft>
            </a:pPr>
            <a:r>
              <a:rPr lang="en-US" sz="1372" dirty="0" smtClean="0">
                <a:solidFill>
                  <a:srgbClr val="000000"/>
                </a:solidFill>
              </a:rPr>
              <a:t>Devices</a:t>
            </a:r>
            <a:endParaRPr lang="en-US" sz="1372" dirty="0">
              <a:solidFill>
                <a:srgbClr val="000000"/>
              </a:solidFill>
            </a:endParaRPr>
          </a:p>
        </p:txBody>
      </p:sp>
      <p:sp>
        <p:nvSpPr>
          <p:cNvPr id="125" name="TextBox 124"/>
          <p:cNvSpPr txBox="1"/>
          <p:nvPr/>
        </p:nvSpPr>
        <p:spPr>
          <a:xfrm>
            <a:off x="776632" y="4720773"/>
            <a:ext cx="618987" cy="190052"/>
          </a:xfrm>
          <a:prstGeom prst="rect">
            <a:avLst/>
          </a:prstGeom>
          <a:noFill/>
        </p:spPr>
        <p:txBody>
          <a:bodyPr wrap="square" lIns="0" tIns="0" rIns="0" bIns="0" rtlCol="0">
            <a:spAutoFit/>
          </a:bodyPr>
          <a:lstStyle/>
          <a:p>
            <a:pPr algn="ctr">
              <a:lnSpc>
                <a:spcPct val="90000"/>
              </a:lnSpc>
            </a:pPr>
            <a:r>
              <a:rPr lang="en-US" sz="1372" dirty="0">
                <a:solidFill>
                  <a:srgbClr val="000000"/>
                </a:solidFill>
              </a:rPr>
              <a:t>Sensors</a:t>
            </a:r>
          </a:p>
        </p:txBody>
      </p:sp>
      <p:grpSp>
        <p:nvGrpSpPr>
          <p:cNvPr id="126" name="Group 125"/>
          <p:cNvGrpSpPr/>
          <p:nvPr/>
        </p:nvGrpSpPr>
        <p:grpSpPr>
          <a:xfrm>
            <a:off x="702726" y="4244294"/>
            <a:ext cx="862790" cy="429878"/>
            <a:chOff x="5416547" y="3144838"/>
            <a:chExt cx="1352553" cy="565150"/>
          </a:xfrm>
          <a:solidFill>
            <a:srgbClr val="A5A5A5"/>
          </a:solidFill>
        </p:grpSpPr>
        <p:sp>
          <p:nvSpPr>
            <p:cNvPr id="12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28" name="Freeform 22"/>
            <p:cNvSpPr>
              <a:spLocks noEditPoints="1"/>
            </p:cNvSpPr>
            <p:nvPr/>
          </p:nvSpPr>
          <p:spPr bwMode="auto">
            <a:xfrm>
              <a:off x="5416547" y="3216276"/>
              <a:ext cx="1185862" cy="493712"/>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29"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35"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27084" y="2588140"/>
            <a:ext cx="775645" cy="256913"/>
          </a:xfrm>
          <a:prstGeom prst="rect">
            <a:avLst/>
          </a:prstGeom>
          <a:solidFill>
            <a:schemeClr val="bg1"/>
          </a:solidFill>
        </p:spPr>
      </p:pic>
      <p:pic>
        <p:nvPicPr>
          <p:cNvPr id="15" name="Picture 14"/>
          <p:cNvPicPr>
            <a:picLocks noChangeAspect="1"/>
          </p:cNvPicPr>
          <p:nvPr/>
        </p:nvPicPr>
        <p:blipFill>
          <a:blip r:embed="rId4"/>
          <a:stretch>
            <a:fillRect/>
          </a:stretch>
        </p:blipFill>
        <p:spPr>
          <a:xfrm>
            <a:off x="6591025" y="2588140"/>
            <a:ext cx="243110" cy="256913"/>
          </a:xfrm>
          <a:prstGeom prst="rect">
            <a:avLst/>
          </a:prstGeom>
        </p:spPr>
      </p:pic>
      <p:pic>
        <p:nvPicPr>
          <p:cNvPr id="87" name="Picture 86"/>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5004162" y="2920233"/>
            <a:ext cx="296976" cy="463283"/>
          </a:xfrm>
          <a:prstGeom prst="rect">
            <a:avLst/>
          </a:prstGeom>
        </p:spPr>
      </p:pic>
      <p:sp>
        <p:nvSpPr>
          <p:cNvPr id="95" name="Oval 94"/>
          <p:cNvSpPr/>
          <p:nvPr/>
        </p:nvSpPr>
        <p:spPr bwMode="auto">
          <a:xfrm>
            <a:off x="6296805" y="3559540"/>
            <a:ext cx="1508760" cy="1508760"/>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1300" b="1" dirty="0" smtClean="0">
                <a:gradFill>
                  <a:gsLst>
                    <a:gs pos="0">
                      <a:srgbClr val="FFFFFF"/>
                    </a:gs>
                    <a:gs pos="100000">
                      <a:srgbClr val="FFFFFF"/>
                    </a:gs>
                  </a:gsLst>
                  <a:lin ang="5400000" scaled="1"/>
                </a:gradFill>
                <a:ea typeface="Segoe UI" pitchFamily="34" charset="0"/>
                <a:cs typeface="Segoe UI" pitchFamily="34" charset="0"/>
              </a:rPr>
              <a:t>Azure Stream Analytics</a:t>
            </a:r>
            <a:endParaRPr lang="en-US" sz="1300" b="1" dirty="0">
              <a:gradFill>
                <a:gsLst>
                  <a:gs pos="0">
                    <a:srgbClr val="FFFFFF"/>
                  </a:gs>
                  <a:gs pos="100000">
                    <a:srgbClr val="FFFFFF"/>
                  </a:gs>
                </a:gsLst>
                <a:lin ang="5400000" scaled="1"/>
              </a:gradFill>
              <a:ea typeface="Segoe UI" pitchFamily="34" charset="0"/>
              <a:cs typeface="Segoe UI" pitchFamily="34" charset="0"/>
            </a:endParaRPr>
          </a:p>
        </p:txBody>
      </p:sp>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99617" y="4124755"/>
            <a:ext cx="856568" cy="856568"/>
          </a:xfrm>
          <a:prstGeom prst="rect">
            <a:avLst/>
          </a:prstGeom>
        </p:spPr>
      </p:pic>
      <p:cxnSp>
        <p:nvCxnSpPr>
          <p:cNvPr id="104" name="Straight Arrow Connector 103"/>
          <p:cNvCxnSpPr/>
          <p:nvPr/>
        </p:nvCxnSpPr>
        <p:spPr>
          <a:xfrm>
            <a:off x="5691956" y="4799456"/>
            <a:ext cx="672862" cy="496603"/>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7" name="Freeform 38"/>
          <p:cNvSpPr>
            <a:spLocks noEditPoints="1"/>
          </p:cNvSpPr>
          <p:nvPr/>
        </p:nvSpPr>
        <p:spPr bwMode="auto">
          <a:xfrm>
            <a:off x="9242102" y="1855326"/>
            <a:ext cx="568456" cy="2649076"/>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cxnSp>
        <p:nvCxnSpPr>
          <p:cNvPr id="69" name="Straight Arrow Connector 68"/>
          <p:cNvCxnSpPr/>
          <p:nvPr/>
        </p:nvCxnSpPr>
        <p:spPr>
          <a:xfrm flipH="1">
            <a:off x="5790349" y="4301516"/>
            <a:ext cx="489063" cy="866"/>
          </a:xfrm>
          <a:prstGeom prst="straightConnector1">
            <a:avLst/>
          </a:prstGeom>
          <a:ln>
            <a:solidFill>
              <a:schemeClr val="bg1">
                <a:lumMod val="50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grpSp>
        <p:nvGrpSpPr>
          <p:cNvPr id="99" name="Group 98"/>
          <p:cNvGrpSpPr/>
          <p:nvPr/>
        </p:nvGrpSpPr>
        <p:grpSpPr>
          <a:xfrm>
            <a:off x="8066005" y="2029789"/>
            <a:ext cx="1149418" cy="2415434"/>
            <a:chOff x="7913170" y="3312282"/>
            <a:chExt cx="1149418" cy="2415434"/>
          </a:xfrm>
        </p:grpSpPr>
        <p:grpSp>
          <p:nvGrpSpPr>
            <p:cNvPr id="109" name="Group 108"/>
            <p:cNvGrpSpPr/>
            <p:nvPr/>
          </p:nvGrpSpPr>
          <p:grpSpPr>
            <a:xfrm>
              <a:off x="7916635" y="3918422"/>
              <a:ext cx="1145953" cy="1809294"/>
              <a:chOff x="8138456" y="2948621"/>
              <a:chExt cx="1188720" cy="1981190"/>
            </a:xfrm>
            <a:solidFill>
              <a:schemeClr val="accent1"/>
            </a:solidFill>
          </p:grpSpPr>
          <p:sp>
            <p:nvSpPr>
              <p:cNvPr id="110" name="Right Arrow 109"/>
              <p:cNvSpPr/>
              <p:nvPr/>
            </p:nvSpPr>
            <p:spPr bwMode="auto">
              <a:xfrm>
                <a:off x="8138456" y="2948621"/>
                <a:ext cx="1188720" cy="640080"/>
              </a:xfrm>
              <a:prstGeom prst="rightArrow">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a:gradFill>
                      <a:gsLst>
                        <a:gs pos="0">
                          <a:srgbClr val="FFFFFF"/>
                        </a:gs>
                        <a:gs pos="100000">
                          <a:srgbClr val="FFFFFF"/>
                        </a:gs>
                      </a:gsLst>
                      <a:lin ang="5400000" scaled="1"/>
                    </a:gradFill>
                    <a:ea typeface="Segoe UI" pitchFamily="34" charset="0"/>
                    <a:cs typeface="Segoe UI" pitchFamily="34" charset="0"/>
                  </a:rPr>
                  <a:t>HDFS</a:t>
                </a:r>
              </a:p>
            </p:txBody>
          </p:sp>
          <p:sp>
            <p:nvSpPr>
              <p:cNvPr id="111" name="Right Arrow 110"/>
              <p:cNvSpPr/>
              <p:nvPr/>
            </p:nvSpPr>
            <p:spPr bwMode="auto">
              <a:xfrm>
                <a:off x="8138456" y="3619176"/>
                <a:ext cx="1188720" cy="640080"/>
              </a:xfrm>
              <a:prstGeom prst="rightArrow">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112" name="Right Arrow 111"/>
              <p:cNvSpPr/>
              <p:nvPr/>
            </p:nvSpPr>
            <p:spPr bwMode="auto">
              <a:xfrm>
                <a:off x="8138456" y="4289731"/>
                <a:ext cx="1188720" cy="640080"/>
              </a:xfrm>
              <a:prstGeom prst="rightArrow">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a:gradFill>
                      <a:gsLst>
                        <a:gs pos="0">
                          <a:srgbClr val="FFFFFF"/>
                        </a:gs>
                        <a:gs pos="100000">
                          <a:srgbClr val="FFFFFF"/>
                        </a:gs>
                      </a:gsLst>
                      <a:lin ang="5400000" scaled="1"/>
                    </a:gradFill>
                    <a:ea typeface="Segoe UI" pitchFamily="34" charset="0"/>
                    <a:cs typeface="Segoe UI" pitchFamily="34" charset="0"/>
                  </a:rPr>
                  <a:t>Azure storage</a:t>
                </a:r>
              </a:p>
            </p:txBody>
          </p:sp>
        </p:grpSp>
        <p:sp>
          <p:nvSpPr>
            <p:cNvPr id="138" name="Right Arrow 137"/>
            <p:cNvSpPr/>
            <p:nvPr/>
          </p:nvSpPr>
          <p:spPr bwMode="auto">
            <a:xfrm>
              <a:off x="7913170" y="3312282"/>
              <a:ext cx="1145953" cy="584544"/>
            </a:xfrm>
            <a:prstGeom prst="rightArrow">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0" rIns="0" bIns="0" numCol="1" spcCol="0" rtlCol="0" fromWordArt="0" anchor="ctr" anchorCtr="0" forceAA="0" compatLnSpc="1">
              <a:prstTxWarp prst="textNoShape">
                <a:avLst/>
              </a:prstTxWarp>
              <a:noAutofit/>
            </a:bodyPr>
            <a:lstStyle/>
            <a:p>
              <a:pPr defTabSz="914102">
                <a:lnSpc>
                  <a:spcPct val="90000"/>
                </a:lnSpc>
              </a:pPr>
              <a:r>
                <a:rPr lang="en-US" sz="1176" b="1" dirty="0" err="1">
                  <a:gradFill>
                    <a:gsLst>
                      <a:gs pos="0">
                        <a:srgbClr val="FFFFFF"/>
                      </a:gs>
                      <a:gs pos="100000">
                        <a:srgbClr val="FFFFFF"/>
                      </a:gs>
                    </a:gsLst>
                    <a:lin ang="5400000" scaled="1"/>
                  </a:gradFill>
                  <a:ea typeface="Segoe UI" pitchFamily="34" charset="0"/>
                  <a:cs typeface="Segoe UI" pitchFamily="34" charset="0"/>
                </a:rPr>
                <a:t>HBase</a:t>
              </a:r>
              <a:endParaRPr lang="en-US" sz="1176" b="1" dirty="0">
                <a:gradFill>
                  <a:gsLst>
                    <a:gs pos="0">
                      <a:srgbClr val="FFFFFF"/>
                    </a:gs>
                    <a:gs pos="100000">
                      <a:srgbClr val="FFFFFF"/>
                    </a:gs>
                  </a:gsLst>
                  <a:lin ang="5400000" scaled="1"/>
                </a:gradFill>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smtClean="0"/>
              <a:t> </a:t>
            </a:r>
            <a:endParaRPr lang="en-US" dirty="0"/>
          </a:p>
        </p:txBody>
      </p:sp>
    </p:spTree>
    <p:extLst>
      <p:ext uri="{BB962C8B-B14F-4D97-AF65-F5344CB8AC3E}">
        <p14:creationId xmlns:p14="http://schemas.microsoft.com/office/powerpoint/2010/main" val="26789892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3.xml><?xml version="1.0" encoding="utf-8"?>
<a:theme xmlns:a="http://schemas.openxmlformats.org/drawingml/2006/main" name="1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PASS 2013_SpeakerTemplate_16x9">
  <a:themeElements>
    <a:clrScheme name="Custom 3">
      <a:dk1>
        <a:srgbClr val="58585A"/>
      </a:dk1>
      <a:lt1>
        <a:sysClr val="window" lastClr="FFFFFF"/>
      </a:lt1>
      <a:dk2>
        <a:srgbClr val="003A78"/>
      </a:dk2>
      <a:lt2>
        <a:srgbClr val="0061B0"/>
      </a:lt2>
      <a:accent1>
        <a:srgbClr val="0084CC"/>
      </a:accent1>
      <a:accent2>
        <a:srgbClr val="52C3D8"/>
      </a:accent2>
      <a:accent3>
        <a:srgbClr val="FCB327"/>
      </a:accent3>
      <a:accent4>
        <a:srgbClr val="7EB241"/>
      </a:accent4>
      <a:accent5>
        <a:srgbClr val="1D9C48"/>
      </a:accent5>
      <a:accent6>
        <a:srgbClr val="181651"/>
      </a:accent6>
      <a:hlink>
        <a:srgbClr val="0084CC"/>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C259F80B481294EA2616764F5468028" ma:contentTypeVersion="3" ma:contentTypeDescription="Create a new document." ma:contentTypeScope="" ma:versionID="17b0ab71de516efa0448e332352d800e">
  <xsd:schema xmlns:xsd="http://www.w3.org/2001/XMLSchema" xmlns:xs="http://www.w3.org/2001/XMLSchema" xmlns:p="http://schemas.microsoft.com/office/2006/metadata/properties" xmlns:ns3="ca2d2b93-6fe1-4327-ad17-9a40d88b17df" targetNamespace="http://schemas.microsoft.com/office/2006/metadata/properties" ma:root="true" ma:fieldsID="54066b4107bc7e24724af96c9ac5d664" ns3:_="">
    <xsd:import namespace="ca2d2b93-6fe1-4327-ad17-9a40d88b17df"/>
    <xsd:element name="properties">
      <xsd:complexType>
        <xsd:sequence>
          <xsd:element name="documentManagement">
            <xsd:complexType>
              <xsd:all>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d2b93-6fe1-4327-ad17-9a40d88b17d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8A7AE3-F3FD-4B7F-A97C-9B98BD0FD408}">
  <ds:schemaRefs>
    <ds:schemaRef ds:uri="http://schemas.microsoft.com/office/infopath/2007/PartnerControls"/>
    <ds:schemaRef ds:uri="http://schemas.microsoft.com/office/2006/documentManagement/types"/>
    <ds:schemaRef ds:uri="http://purl.org/dc/terms/"/>
    <ds:schemaRef ds:uri="http://purl.org/dc/dcmitype/"/>
    <ds:schemaRef ds:uri="http://www.w3.org/XML/1998/namespace"/>
    <ds:schemaRef ds:uri="http://purl.org/dc/elements/1.1/"/>
    <ds:schemaRef ds:uri="http://schemas.openxmlformats.org/package/2006/metadata/core-properties"/>
    <ds:schemaRef ds:uri="ca2d2b93-6fe1-4327-ad17-9a40d88b17df"/>
    <ds:schemaRef ds:uri="http://schemas.microsoft.com/office/2006/metadata/properties"/>
  </ds:schemaRefs>
</ds:datastoreItem>
</file>

<file path=customXml/itemProps2.xml><?xml version="1.0" encoding="utf-8"?>
<ds:datastoreItem xmlns:ds="http://schemas.openxmlformats.org/officeDocument/2006/customXml" ds:itemID="{5320355E-D5C7-42C3-BCA4-76AB1D8384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2d2b93-6fe1-4327-ad17-9a40d88b17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CE44F84-122E-413B-A645-7A16AC627DF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736</TotalTime>
  <Words>806</Words>
  <Application>Microsoft Office PowerPoint</Application>
  <PresentationFormat>Widescreen</PresentationFormat>
  <Paragraphs>189</Paragraphs>
  <Slides>17</Slides>
  <Notes>10</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35" baseType="lpstr">
      <vt:lpstr>MS PGothic</vt:lpstr>
      <vt:lpstr>MS PGothic</vt:lpstr>
      <vt:lpstr>Arial</vt:lpstr>
      <vt:lpstr>Calibri</vt:lpstr>
      <vt:lpstr>Calibri Light</vt:lpstr>
      <vt:lpstr>Century Gothic</vt:lpstr>
      <vt:lpstr>Consolas</vt:lpstr>
      <vt:lpstr>Segoe</vt:lpstr>
      <vt:lpstr>Segoe Light</vt:lpstr>
      <vt:lpstr>Segoe UI</vt:lpstr>
      <vt:lpstr>Segoe UI Light</vt:lpstr>
      <vt:lpstr>Segoe UI Semibold</vt:lpstr>
      <vt:lpstr>Wingdings</vt:lpstr>
      <vt:lpstr>Office Theme</vt:lpstr>
      <vt:lpstr>SQL Server 14_DRAFT_04222013_ab</vt:lpstr>
      <vt:lpstr>1_STB Conversations 2013</vt:lpstr>
      <vt:lpstr>PASS 2013_SpeakerTemplate_16x9</vt:lpstr>
      <vt:lpstr>think-cell Slide</vt:lpstr>
      <vt:lpstr>NoSQL and Relational in the Modern Data Architecture </vt:lpstr>
      <vt:lpstr>Agenda</vt:lpstr>
      <vt:lpstr>Microsoft Azure Data Services</vt:lpstr>
      <vt:lpstr>The And of Data Persistence</vt:lpstr>
      <vt:lpstr>PowerPoint Presentation</vt:lpstr>
      <vt:lpstr>Kinect Telemetry Retail Application</vt:lpstr>
      <vt:lpstr>Polyglot Persistence Pattern</vt:lpstr>
      <vt:lpstr>PowerPoint Presentation</vt:lpstr>
      <vt:lpstr> </vt:lpstr>
      <vt:lpstr>PowerPoint Presentation</vt:lpstr>
      <vt:lpstr>Terminology Time</vt:lpstr>
      <vt:lpstr>Distributed Systems and the CAP Theorem</vt:lpstr>
      <vt:lpstr>BASE - ACID</vt:lpstr>
      <vt:lpstr>__aaS - Services</vt:lpstr>
      <vt:lpstr>Azure Data Services</vt:lpstr>
      <vt:lpstr>Agenda</vt:lpstr>
      <vt:lpstr>HOL1 Explore the Portal(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ra Rubbelke</dc:creator>
  <cp:lastModifiedBy>Lara Rubbelke</cp:lastModifiedBy>
  <cp:revision>78</cp:revision>
  <dcterms:created xsi:type="dcterms:W3CDTF">2015-01-14T15:17:34Z</dcterms:created>
  <dcterms:modified xsi:type="dcterms:W3CDTF">2015-04-06T03:5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TaxKeyword">
    <vt:lpwstr/>
  </property>
  <property fmtid="{D5CDD505-2E9C-101B-9397-08002B2CF9AE}" pid="4" name="ContentTypeId">
    <vt:lpwstr>0x0101009C259F80B481294EA2616764F5468028</vt:lpwstr>
  </property>
  <property fmtid="{D5CDD505-2E9C-101B-9397-08002B2CF9AE}" pid="5" name="TaxCatchAll">
    <vt:lpwstr/>
  </property>
  <property fmtid="{D5CDD505-2E9C-101B-9397-08002B2CF9AE}" pid="6" name="TaxKeywordTaxHTField">
    <vt:lpwstr/>
  </property>
</Properties>
</file>